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3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3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0" r:id="rId1"/>
    <p:sldMasterId id="2147484524" r:id="rId2"/>
    <p:sldMasterId id="2147484960" r:id="rId3"/>
    <p:sldMasterId id="2147484988" r:id="rId4"/>
    <p:sldMasterId id="2147485029" r:id="rId5"/>
    <p:sldMasterId id="2147485042" r:id="rId6"/>
    <p:sldMasterId id="2147485056" r:id="rId7"/>
    <p:sldMasterId id="2147485069" r:id="rId8"/>
  </p:sldMasterIdLst>
  <p:notesMasterIdLst>
    <p:notesMasterId r:id="rId18"/>
  </p:notesMasterIdLst>
  <p:handoutMasterIdLst>
    <p:handoutMasterId r:id="rId19"/>
  </p:handoutMasterIdLst>
  <p:sldIdLst>
    <p:sldId id="1534" r:id="rId9"/>
    <p:sldId id="1537" r:id="rId10"/>
    <p:sldId id="334" r:id="rId11"/>
    <p:sldId id="335" r:id="rId12"/>
    <p:sldId id="336" r:id="rId13"/>
    <p:sldId id="1488" r:id="rId14"/>
    <p:sldId id="1525" r:id="rId15"/>
    <p:sldId id="1476" r:id="rId16"/>
    <p:sldId id="1477" r:id="rId17"/>
  </p:sldIdLst>
  <p:sldSz cx="12192000" cy="6858000"/>
  <p:notesSz cx="7102475" cy="9388475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7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33CCFF"/>
    <a:srgbClr val="3333FF"/>
    <a:srgbClr val="FFCC00"/>
    <a:srgbClr val="CCCC00"/>
    <a:srgbClr val="FF6600"/>
    <a:srgbClr val="CC0000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1" autoAdjust="0"/>
    <p:restoredTop sz="83977" autoAdjust="0"/>
  </p:normalViewPr>
  <p:slideViewPr>
    <p:cSldViewPr snapToGrid="0">
      <p:cViewPr varScale="1">
        <p:scale>
          <a:sx n="54" d="100"/>
          <a:sy n="54" d="100"/>
        </p:scale>
        <p:origin x="1148" y="44"/>
      </p:cViewPr>
      <p:guideLst>
        <p:guide orient="horz" pos="2160"/>
        <p:guide pos="38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33" d="100"/>
          <a:sy n="33" d="100"/>
        </p:scale>
        <p:origin x="-1746" y="-96"/>
      </p:cViewPr>
      <p:guideLst>
        <p:guide orient="horz" pos="2957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346" name="Rectangle 2">
            <a:extLst>
              <a:ext uri="{FF2B5EF4-FFF2-40B4-BE49-F238E27FC236}">
                <a16:creationId xmlns:a16="http://schemas.microsoft.com/office/drawing/2014/main" id="{0C575C28-02EB-4D2E-AB50-637F516DEF01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056366" cy="280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02" tIns="46751" rIns="93502" bIns="46751" numCol="1" anchor="t" anchorCtr="0" compatLnSpc="1">
            <a:prstTxWarp prst="textNoShape">
              <a:avLst/>
            </a:prstTxWarp>
            <a:spAutoFit/>
          </a:bodyPr>
          <a:lstStyle>
            <a:lvl1pPr defTabSz="934722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3347" name="Rectangle 3">
            <a:extLst>
              <a:ext uri="{FF2B5EF4-FFF2-40B4-BE49-F238E27FC236}">
                <a16:creationId xmlns:a16="http://schemas.microsoft.com/office/drawing/2014/main" id="{E395A5AC-5D5B-4240-917F-B2B3F084B7F5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6787" y="1"/>
            <a:ext cx="3136926" cy="280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02" tIns="46751" rIns="93502" bIns="46751" numCol="1" anchor="t" anchorCtr="0" compatLnSpc="1">
            <a:prstTxWarp prst="textNoShape">
              <a:avLst/>
            </a:prstTxWarp>
            <a:spAutoFit/>
          </a:bodyPr>
          <a:lstStyle>
            <a:lvl1pPr algn="r" defTabSz="934722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3348" name="Rectangle 4">
            <a:extLst>
              <a:ext uri="{FF2B5EF4-FFF2-40B4-BE49-F238E27FC236}">
                <a16:creationId xmlns:a16="http://schemas.microsoft.com/office/drawing/2014/main" id="{DF9BF75C-20C0-438B-A7ED-372EB77C3894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107708"/>
            <a:ext cx="3056366" cy="28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02" tIns="46751" rIns="93502" bIns="46751" numCol="1" anchor="b" anchorCtr="0" compatLnSpc="1">
            <a:prstTxWarp prst="textNoShape">
              <a:avLst/>
            </a:prstTxWarp>
            <a:spAutoFit/>
          </a:bodyPr>
          <a:lstStyle>
            <a:lvl1pPr defTabSz="934722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3349" name="Rectangle 5">
            <a:extLst>
              <a:ext uri="{FF2B5EF4-FFF2-40B4-BE49-F238E27FC236}">
                <a16:creationId xmlns:a16="http://schemas.microsoft.com/office/drawing/2014/main" id="{64C35C6F-F52E-4AF4-8659-BA51DE7A62E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6787" y="9107708"/>
            <a:ext cx="3136926" cy="280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02" tIns="46751" rIns="93502" bIns="46751" numCol="1" anchor="b" anchorCtr="0" compatLnSpc="1">
            <a:prstTxWarp prst="textNoShape">
              <a:avLst/>
            </a:prstTxWarp>
            <a:spAutoFit/>
          </a:bodyPr>
          <a:lstStyle>
            <a:lvl1pPr algn="r" defTabSz="934722">
              <a:defRPr sz="1200">
                <a:cs typeface="Times New Roman" panose="02020603050405020304" pitchFamily="18" charset="0"/>
              </a:defRPr>
            </a:lvl1pPr>
          </a:lstStyle>
          <a:p>
            <a:fld id="{B64A6AE4-8FDB-4F43-96D7-CA5955266D4B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834" name="Rectangle 2">
            <a:extLst>
              <a:ext uri="{FF2B5EF4-FFF2-40B4-BE49-F238E27FC236}">
                <a16:creationId xmlns:a16="http://schemas.microsoft.com/office/drawing/2014/main" id="{0B6D8893-5B8D-4C4A-A211-DC1A9D4CD7EA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739" cy="284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2" tIns="47106" rIns="94212" bIns="47106" numCol="1" anchor="t" anchorCtr="0" compatLnSpc="1">
            <a:prstTxWarp prst="textNoShape">
              <a:avLst/>
            </a:prstTxWarp>
            <a:spAutoFit/>
          </a:bodyPr>
          <a:lstStyle>
            <a:lvl1pPr defTabSz="941293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48835" name="Rectangle 3">
            <a:extLst>
              <a:ext uri="{FF2B5EF4-FFF2-40B4-BE49-F238E27FC236}">
                <a16:creationId xmlns:a16="http://schemas.microsoft.com/office/drawing/2014/main" id="{AA672050-E091-4C60-BA57-5D762ED828B5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4024736" y="0"/>
            <a:ext cx="3077739" cy="284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2" tIns="47106" rIns="94212" bIns="47106" numCol="1" anchor="t" anchorCtr="0" compatLnSpc="1">
            <a:prstTxWarp prst="textNoShape">
              <a:avLst/>
            </a:prstTxWarp>
            <a:spAutoFit/>
          </a:bodyPr>
          <a:lstStyle>
            <a:lvl1pPr algn="r" defTabSz="941293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0" name="Rectangle 4">
            <a:extLst>
              <a:ext uri="{FF2B5EF4-FFF2-40B4-BE49-F238E27FC236}">
                <a16:creationId xmlns:a16="http://schemas.microsoft.com/office/drawing/2014/main" id="{15B10C01-1EF6-4A61-B91D-6DA21AB4D062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0688" y="704850"/>
            <a:ext cx="6261100" cy="35210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8837" name="Rectangle 5">
            <a:extLst>
              <a:ext uri="{FF2B5EF4-FFF2-40B4-BE49-F238E27FC236}">
                <a16:creationId xmlns:a16="http://schemas.microsoft.com/office/drawing/2014/main" id="{75641875-AC00-42C2-9660-A067AC87301B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997" y="4459444"/>
            <a:ext cx="5208482" cy="1269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2" tIns="47106" rIns="94212" bIns="47106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8838" name="Rectangle 6">
            <a:extLst>
              <a:ext uri="{FF2B5EF4-FFF2-40B4-BE49-F238E27FC236}">
                <a16:creationId xmlns:a16="http://schemas.microsoft.com/office/drawing/2014/main" id="{A53AABF7-DEA1-4EB9-8B65-CDD925E3DBF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04425"/>
            <a:ext cx="3077739" cy="284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2" tIns="47106" rIns="94212" bIns="47106" numCol="1" anchor="b" anchorCtr="0" compatLnSpc="1">
            <a:prstTxWarp prst="textNoShape">
              <a:avLst/>
            </a:prstTxWarp>
            <a:spAutoFit/>
          </a:bodyPr>
          <a:lstStyle>
            <a:lvl1pPr defTabSz="941293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48839" name="Rectangle 7">
            <a:extLst>
              <a:ext uri="{FF2B5EF4-FFF2-40B4-BE49-F238E27FC236}">
                <a16:creationId xmlns:a16="http://schemas.microsoft.com/office/drawing/2014/main" id="{72342D66-7395-4B64-AC62-B78177AFAD8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736" y="9104425"/>
            <a:ext cx="3077739" cy="284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2" tIns="47106" rIns="94212" bIns="47106" numCol="1" anchor="b" anchorCtr="0" compatLnSpc="1">
            <a:prstTxWarp prst="textNoShape">
              <a:avLst/>
            </a:prstTxWarp>
            <a:spAutoFit/>
          </a:bodyPr>
          <a:lstStyle>
            <a:lvl1pPr algn="r" defTabSz="941293">
              <a:defRPr sz="1200">
                <a:cs typeface="Times New Roman" panose="02020603050405020304" pitchFamily="18" charset="0"/>
              </a:defRPr>
            </a:lvl1pPr>
          </a:lstStyle>
          <a:p>
            <a:fld id="{C4388FB3-A9C8-4092-A2BA-129F6A467BFF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BEEE7F12-BBA0-40DB-8D07-C845AD0FC7A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96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096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096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096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09638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09638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9C3926-2DCB-4897-B084-DDB64D7FB203}" type="slidenum">
              <a:rPr kumimoji="0" lang="he-IL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0963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2771" name="Rectangle 2">
            <a:extLst>
              <a:ext uri="{FF2B5EF4-FFF2-40B4-BE49-F238E27FC236}">
                <a16:creationId xmlns:a16="http://schemas.microsoft.com/office/drawing/2014/main" id="{113A5EA1-3274-4021-924D-01191EB0C18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>
            <a:extLst>
              <a:ext uri="{FF2B5EF4-FFF2-40B4-BE49-F238E27FC236}">
                <a16:creationId xmlns:a16="http://schemas.microsoft.com/office/drawing/2014/main" id="{3F9E52A4-3462-435A-9CC7-C2A6B26AE7A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>
            <a:extLst>
              <a:ext uri="{FF2B5EF4-FFF2-40B4-BE49-F238E27FC236}">
                <a16:creationId xmlns:a16="http://schemas.microsoft.com/office/drawing/2014/main" id="{44B05286-7B77-4139-AB71-677B71FC4CA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>
            <a:extLst>
              <a:ext uri="{FF2B5EF4-FFF2-40B4-BE49-F238E27FC236}">
                <a16:creationId xmlns:a16="http://schemas.microsoft.com/office/drawing/2014/main" id="{A6C706A1-6C3D-433C-910F-1F230E8629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6997" y="4459444"/>
            <a:ext cx="5208482" cy="279798"/>
          </a:xfrm>
          <a:noFill/>
        </p:spPr>
        <p:txBody>
          <a:bodyPr/>
          <a:lstStyle/>
          <a:p>
            <a:r>
              <a:rPr lang="en-US" altLang="en-US" dirty="0"/>
              <a:t>At work, 2 examples: Men and women.</a:t>
            </a:r>
          </a:p>
          <a:p>
            <a:r>
              <a:rPr lang="en-US" altLang="en-US" dirty="0"/>
              <a:t>2 levels of suffering. </a:t>
            </a:r>
          </a:p>
          <a:p>
            <a:r>
              <a:rPr lang="en-US" altLang="en-US" dirty="0"/>
              <a:t>3 ways of expressing—cry, talk, write…</a:t>
            </a:r>
          </a:p>
        </p:txBody>
      </p:sp>
      <p:sp>
        <p:nvSpPr>
          <p:cNvPr id="69636" name="Slide Number Placeholder 3">
            <a:extLst>
              <a:ext uri="{FF2B5EF4-FFF2-40B4-BE49-F238E27FC236}">
                <a16:creationId xmlns:a16="http://schemas.microsoft.com/office/drawing/2014/main" id="{E4B7DD74-7BF7-40CF-B897-6C15D93542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68805" indent="-295694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82776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55887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128998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602108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07521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54832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021440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412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43D4F2E-7060-4013-B138-874F30827F7C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412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8414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>
            <a:extLst>
              <a:ext uri="{FF2B5EF4-FFF2-40B4-BE49-F238E27FC236}">
                <a16:creationId xmlns:a16="http://schemas.microsoft.com/office/drawing/2014/main" id="{D0096ABC-7895-4108-B69C-6FC800F6F6E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5779" name="Notes Placeholder 2">
            <a:extLst>
              <a:ext uri="{FF2B5EF4-FFF2-40B4-BE49-F238E27FC236}">
                <a16:creationId xmlns:a16="http://schemas.microsoft.com/office/drawing/2014/main" id="{1D6ED6D3-3AF9-4C42-8DAB-6B17E276492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6997" y="4459444"/>
            <a:ext cx="5208482" cy="649130"/>
          </a:xfrm>
          <a:noFill/>
        </p:spPr>
        <p:txBody>
          <a:bodyPr/>
          <a:lstStyle/>
          <a:p>
            <a:r>
              <a:rPr lang="en-US" altLang="en-US" dirty="0"/>
              <a:t>Today, more extreme than this…  Colleges, 94%...  Around world…  Even Australia…  Why?  Juggle too much on our hands.  Hope by end of day, calmer, like this:</a:t>
            </a:r>
          </a:p>
        </p:txBody>
      </p:sp>
      <p:sp>
        <p:nvSpPr>
          <p:cNvPr id="75780" name="Slide Number Placeholder 3">
            <a:extLst>
              <a:ext uri="{FF2B5EF4-FFF2-40B4-BE49-F238E27FC236}">
                <a16:creationId xmlns:a16="http://schemas.microsoft.com/office/drawing/2014/main" id="{B2CD1CB9-CECF-4A3D-BDB7-053778D284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68805" indent="-295694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82776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55887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128998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602108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07521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54832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021440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412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C43ACD4-A38E-4000-A6F2-245DA966C57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pPr marL="0" marR="0" lvl="0" indent="0" algn="r" defTabSz="9412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>
            <a:extLst>
              <a:ext uri="{FF2B5EF4-FFF2-40B4-BE49-F238E27FC236}">
                <a16:creationId xmlns:a16="http://schemas.microsoft.com/office/drawing/2014/main" id="{72AC90EA-D07A-4EA1-9732-9C3F9032D5F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8463" y="709613"/>
            <a:ext cx="6305550" cy="3546475"/>
          </a:xfrm>
          <a:ln/>
        </p:spPr>
      </p:sp>
      <p:sp>
        <p:nvSpPr>
          <p:cNvPr id="79875" name="Notes Placeholder 2">
            <a:extLst>
              <a:ext uri="{FF2B5EF4-FFF2-40B4-BE49-F238E27FC236}">
                <a16:creationId xmlns:a16="http://schemas.microsoft.com/office/drawing/2014/main" id="{CF9FE8E0-511D-4E29-8BDF-4CC541F748B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6997" y="4459444"/>
            <a:ext cx="5208482" cy="1203128"/>
          </a:xfrm>
          <a:noFill/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/>
              <a:t>This is about stress and energy</a:t>
            </a:r>
          </a:p>
          <a:p>
            <a:pPr>
              <a:spcBef>
                <a:spcPct val="0"/>
              </a:spcBef>
            </a:pPr>
            <a:r>
              <a:rPr lang="en-US" altLang="en-US"/>
              <a:t>Stress massive problem across the world</a:t>
            </a:r>
          </a:p>
          <a:p>
            <a:pPr>
              <a:spcBef>
                <a:spcPct val="0"/>
              </a:spcBef>
            </a:pPr>
            <a:r>
              <a:rPr lang="en-US" altLang="en-US"/>
              <a:t>China – concerns re stress in the workplace</a:t>
            </a:r>
          </a:p>
          <a:p>
            <a:pPr>
              <a:spcBef>
                <a:spcPct val="0"/>
              </a:spcBef>
            </a:pPr>
            <a:r>
              <a:rPr lang="en-US" altLang="en-US"/>
              <a:t>Any Australians in room? Even there stressed </a:t>
            </a:r>
          </a:p>
          <a:p>
            <a:pPr>
              <a:spcBef>
                <a:spcPct val="0"/>
              </a:spcBef>
            </a:pPr>
            <a:r>
              <a:rPr lang="en-US" altLang="en-US"/>
              <a:t>By time getting to end of programme feel like this &gt;</a:t>
            </a:r>
          </a:p>
          <a:p>
            <a:pPr>
              <a:spcBef>
                <a:spcPct val="0"/>
              </a:spcBef>
            </a:pPr>
            <a:endParaRPr lang="en-US" altLang="en-US"/>
          </a:p>
        </p:txBody>
      </p:sp>
      <p:sp>
        <p:nvSpPr>
          <p:cNvPr id="79876" name="Slide Number Placeholder 3">
            <a:extLst>
              <a:ext uri="{FF2B5EF4-FFF2-40B4-BE49-F238E27FC236}">
                <a16:creationId xmlns:a16="http://schemas.microsoft.com/office/drawing/2014/main" id="{C0F4CF14-0291-4FDB-9DC8-8F06DEEB44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68805" indent="-295694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82776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55887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128998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602108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07521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54832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021440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412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669FFFD-3D0E-46E2-B614-67AB9F6DA245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9412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>
            <a:extLst>
              <a:ext uri="{FF2B5EF4-FFF2-40B4-BE49-F238E27FC236}">
                <a16:creationId xmlns:a16="http://schemas.microsoft.com/office/drawing/2014/main" id="{708AF16B-B0A6-48DF-915F-23C2296C02A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8463" y="709613"/>
            <a:ext cx="6305550" cy="3546475"/>
          </a:xfrm>
          <a:ln/>
        </p:spPr>
      </p:sp>
      <p:sp>
        <p:nvSpPr>
          <p:cNvPr id="81923" name="Notes Placeholder 2">
            <a:extLst>
              <a:ext uri="{FF2B5EF4-FFF2-40B4-BE49-F238E27FC236}">
                <a16:creationId xmlns:a16="http://schemas.microsoft.com/office/drawing/2014/main" id="{F2430DC6-0363-473E-B299-F65032B8072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6997" y="4459444"/>
            <a:ext cx="5208482" cy="649130"/>
          </a:xfrm>
          <a:noFill/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altLang="en-US" dirty="0"/>
              <a:t>Lack of recovery that is the problem.</a:t>
            </a:r>
          </a:p>
          <a:p>
            <a:pPr>
              <a:spcBef>
                <a:spcPct val="0"/>
              </a:spcBef>
            </a:pPr>
            <a:r>
              <a:rPr lang="en-US" altLang="en-US" dirty="0"/>
              <a:t>Last week, discussed anti fragile—gym work makes you stronger—potentially!  If recovery, can increase likelihood of PTG, stronger.</a:t>
            </a:r>
          </a:p>
        </p:txBody>
      </p:sp>
      <p:sp>
        <p:nvSpPr>
          <p:cNvPr id="81924" name="Slide Number Placeholder 3">
            <a:extLst>
              <a:ext uri="{FF2B5EF4-FFF2-40B4-BE49-F238E27FC236}">
                <a16:creationId xmlns:a16="http://schemas.microsoft.com/office/drawing/2014/main" id="{752F8A75-101B-4FF6-8D12-9902F159C5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68805" indent="-295694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82776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55887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128998" indent="-236555" defTabSz="941293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602108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07521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548329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021440" indent="-236555" defTabSz="941293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94129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8F2D7C-42CB-47B6-B946-8BCF05AB82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94129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>
            <a:extLst>
              <a:ext uri="{FF2B5EF4-FFF2-40B4-BE49-F238E27FC236}">
                <a16:creationId xmlns:a16="http://schemas.microsoft.com/office/drawing/2014/main" id="{8F84732C-6994-4D60-AD4B-53C40A240EA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5" name="Notes Placeholder 2">
            <a:extLst>
              <a:ext uri="{FF2B5EF4-FFF2-40B4-BE49-F238E27FC236}">
                <a16:creationId xmlns:a16="http://schemas.microsoft.com/office/drawing/2014/main" id="{25BC514B-551D-4DD3-956B-80A0F67DF91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100356" name="Slide Number Placeholder 3">
            <a:extLst>
              <a:ext uri="{FF2B5EF4-FFF2-40B4-BE49-F238E27FC236}">
                <a16:creationId xmlns:a16="http://schemas.microsoft.com/office/drawing/2014/main" id="{AA6DCF34-7AF7-42AC-A3D9-3EA0342F92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282095-04AB-41BF-9F0E-2ABC52B35C74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55328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>
            <a:extLst>
              <a:ext uri="{FF2B5EF4-FFF2-40B4-BE49-F238E27FC236}">
                <a16:creationId xmlns:a16="http://schemas.microsoft.com/office/drawing/2014/main" id="{8F84732C-6994-4D60-AD4B-53C40A240EA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0355" name="Notes Placeholder 2">
            <a:extLst>
              <a:ext uri="{FF2B5EF4-FFF2-40B4-BE49-F238E27FC236}">
                <a16:creationId xmlns:a16="http://schemas.microsoft.com/office/drawing/2014/main" id="{25BC514B-551D-4DD3-956B-80A0F67DF91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100356" name="Slide Number Placeholder 3">
            <a:extLst>
              <a:ext uri="{FF2B5EF4-FFF2-40B4-BE49-F238E27FC236}">
                <a16:creationId xmlns:a16="http://schemas.microsoft.com/office/drawing/2014/main" id="{AA6DCF34-7AF7-42AC-A3D9-3EA0342F92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282095-04AB-41BF-9F0E-2ABC52B35C74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657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>
            <a:extLst>
              <a:ext uri="{FF2B5EF4-FFF2-40B4-BE49-F238E27FC236}">
                <a16:creationId xmlns:a16="http://schemas.microsoft.com/office/drawing/2014/main" id="{642F48A4-4EE2-49FA-8C3F-A8EDF88B7D7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03" name="Notes Placeholder 2">
            <a:extLst>
              <a:ext uri="{FF2B5EF4-FFF2-40B4-BE49-F238E27FC236}">
                <a16:creationId xmlns:a16="http://schemas.microsoft.com/office/drawing/2014/main" id="{500E74D5-8F67-47D4-8467-F30945ADDBD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102404" name="Slide Number Placeholder 3">
            <a:extLst>
              <a:ext uri="{FF2B5EF4-FFF2-40B4-BE49-F238E27FC236}">
                <a16:creationId xmlns:a16="http://schemas.microsoft.com/office/drawing/2014/main" id="{68F2B852-9DBD-4C71-8FCD-92B4F168E0C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D900690-894C-42CC-B393-2C2B708BD0F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74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>
            <a:extLst>
              <a:ext uri="{FF2B5EF4-FFF2-40B4-BE49-F238E27FC236}">
                <a16:creationId xmlns:a16="http://schemas.microsoft.com/office/drawing/2014/main" id="{AC672896-F144-4D70-B6B9-D52F6CC200B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4451" name="Notes Placeholder 2">
            <a:extLst>
              <a:ext uri="{FF2B5EF4-FFF2-40B4-BE49-F238E27FC236}">
                <a16:creationId xmlns:a16="http://schemas.microsoft.com/office/drawing/2014/main" id="{E2BEE680-6B12-42A0-80F1-B642ED6EE80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946997" y="4459444"/>
            <a:ext cx="5208482" cy="279798"/>
          </a:xfrm>
          <a:noFill/>
        </p:spPr>
        <p:txBody>
          <a:bodyPr/>
          <a:lstStyle/>
          <a:p>
            <a:endParaRPr lang="en-US" altLang="en-US" dirty="0"/>
          </a:p>
        </p:txBody>
      </p:sp>
      <p:sp>
        <p:nvSpPr>
          <p:cNvPr id="104452" name="Slide Number Placeholder 3">
            <a:extLst>
              <a:ext uri="{FF2B5EF4-FFF2-40B4-BE49-F238E27FC236}">
                <a16:creationId xmlns:a16="http://schemas.microsoft.com/office/drawing/2014/main" id="{10B7AD5E-5641-46F7-8439-184023C0F3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473111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68805" indent="-295694" defTabSz="473111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82776" indent="-236555" defTabSz="473111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55887" indent="-236555" defTabSz="473111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128998" indent="-236555" defTabSz="473111"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602108" indent="-236555" defTabSz="47311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3075219" indent="-236555" defTabSz="47311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548329" indent="-236555" defTabSz="47311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4021440" indent="-236555" defTabSz="473111" eaLnBrk="0" fontAlgn="base" hangingPunct="0">
              <a:spcBef>
                <a:spcPct val="0"/>
              </a:spcBef>
              <a:spcAft>
                <a:spcPct val="0"/>
              </a:spcAft>
              <a:defRPr sz="25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r" defTabSz="47311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DB0178F-A184-4C92-B509-998F09BB6BF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pPr marL="0" marR="0" lvl="0" indent="0" algn="r" defTabSz="4731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984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0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9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0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2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4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0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1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2.bin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4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6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9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0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1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2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3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4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D41A788-401D-40CD-BD1C-796D994184B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B56D68F4-0F21-4BFB-9609-BDCAC67C767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251C2A8-E341-4593-BA2E-716448D8E48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4A9371ED-1593-4CDD-946E-2AE9A4802AB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0248207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CFB0644F-4151-4063-A5A7-1F87DD0A95F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2290" name="Rectangle 11" hidden="1">
                        <a:extLst>
                          <a:ext uri="{FF2B5EF4-FFF2-40B4-BE49-F238E27FC236}">
                            <a16:creationId xmlns:a16="http://schemas.microsoft.com/office/drawing/2014/main" id="{AE0A7B80-DD62-43EB-BFD6-9078ECB3009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6BB3E18A-C6EA-4B83-9A96-091700C5B4B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253CA500-C2FC-4923-AD79-2BDBFF29849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E01150DD-1550-4C49-8B28-9A67F0E3BC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0CACE25-B62F-4C38-AFDB-2557EBFC14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14A8479-89A5-406A-9D5E-E79648EF8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CFA0BA0-41BD-4D5A-86B9-935045F927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45EBF4-146D-47B0-9A6F-02F905FCE9B6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75112679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2BB55064-0638-80A1-8352-E1F256341AF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2BB55064-0638-80A1-8352-E1F256341AF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A085BC32-DC06-1CC1-6268-7662AB89FFF3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C463D658-F961-06F6-E417-A62269F53E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AD6FE6CD-4A04-BA79-1E33-D024C51CF6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56E2E6B-C6CE-87A2-232D-CAF2572A0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3308812-284C-6654-9EE1-17974047B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24D4955-8A5D-3F95-7EF5-DBDE6C1DB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CCCD54-070E-47CF-A6FD-A7C9E69D4BDB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42528346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8F409C3D-2B5F-4EA9-9A2C-682FB50B803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3314" name="Rectangle 11" hidden="1">
                        <a:extLst>
                          <a:ext uri="{FF2B5EF4-FFF2-40B4-BE49-F238E27FC236}">
                            <a16:creationId xmlns:a16="http://schemas.microsoft.com/office/drawing/2014/main" id="{8904C7AB-D66C-465E-B519-2C9B019E78A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6287F6FA-A46A-43B9-B751-BD7683768C0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C59D5291-BCCD-4947-AC95-757CD8EE7E2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838F4F9-ABD9-4726-9D46-D7EB25AC6A5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989B222-F1CE-49F6-A24B-344FF02910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AF1771C-D2A7-467F-82FA-8342EB182C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9999DAE-164E-496E-8775-A53F2BA71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C5B756-BE21-4FFE-B852-A4F34EA6130A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1678117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4A5641C3-892B-43E0-9A25-BA503E01736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4338" name="Rectangle 11" hidden="1">
                        <a:extLst>
                          <a:ext uri="{FF2B5EF4-FFF2-40B4-BE49-F238E27FC236}">
                            <a16:creationId xmlns:a16="http://schemas.microsoft.com/office/drawing/2014/main" id="{BEFE26E6-093D-4269-9E84-60850672C30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23F156C9-C935-40C7-866C-6A33F956330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57B05B71-3EC7-40CB-9B7A-FEC27874801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0C64BBDB-A24E-43B0-928B-685600F15D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7F983CCB-C798-4B4A-A65F-42DC483976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2F7F066-D330-47A9-A007-E471E8065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FB1D3FE8-5E41-435A-AC6F-4B4DFAED8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26F963-D607-401B-8126-6D623E70DDC8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57934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F1FE835-C40D-414F-81F9-87B0A2F8DBB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E59C7EDE-FDBB-4402-B46F-5E7BB917D0A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15BD26B-DEEE-4657-B58F-83FFAF98502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1849592B-B82F-450E-81FD-EDCE01E2F5C4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05748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E51D7C11-801F-4B3C-A541-500955E5F6C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6386" name="Rectangle 11" hidden="1">
                        <a:extLst>
                          <a:ext uri="{FF2B5EF4-FFF2-40B4-BE49-F238E27FC236}">
                            <a16:creationId xmlns:a16="http://schemas.microsoft.com/office/drawing/2014/main" id="{F2920733-D387-4FEE-AFF7-122E18E6BBD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B3F7DC41-F225-4A42-8387-832E8E8D7B4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2C5B5EFC-78EA-4298-A8BB-E4C2F2F6924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C6B3AA1C-8D47-4699-AA1F-DC363501F9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E7C7D257-8643-44E3-AD9B-4B85565C5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4C0590F-ABE6-4A7F-B871-03A0C82CDB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1796AAE-1455-4AC4-8373-8337E8076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3E79E6-F6C9-4E8D-92D0-E909789AB0C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4322150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7385F09A-1CF5-4281-A9A4-84D7A70581C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7410" name="Rectangle 11" hidden="1">
                        <a:extLst>
                          <a:ext uri="{FF2B5EF4-FFF2-40B4-BE49-F238E27FC236}">
                            <a16:creationId xmlns:a16="http://schemas.microsoft.com/office/drawing/2014/main" id="{4D14EDE2-E272-496B-9C93-4585D9594EF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1FA65C1C-36CC-4E7A-B49C-FFA19D7BF8D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0CB2E655-22F1-469D-860C-152D9A0BBFB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6598BBEE-691C-4C5C-8615-2343109A17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6BAE99D-B1F3-4F88-80C7-C197F59E5C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C50CBB-32F6-4619-A7AE-A6194E9E1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8612FF7-6FCB-4A3B-B5F9-4D8FB52BF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739F9E-0FC0-4CF9-8E1D-49F278FFCF78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212977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59626366-B56C-450F-B439-054DDBD2326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8434" name="Rectangle 11" hidden="1">
                        <a:extLst>
                          <a:ext uri="{FF2B5EF4-FFF2-40B4-BE49-F238E27FC236}">
                            <a16:creationId xmlns:a16="http://schemas.microsoft.com/office/drawing/2014/main" id="{2EE5B986-CB15-4C0C-B788-EA1B6CCC66B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EB4FDB3F-9342-454A-B67E-867F348926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55FE2510-2B11-41FE-894F-FDB2AFB919B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7F5C3AE4-A651-4D4D-ABBD-2B149E6B4DC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C356810E-1806-41F4-9B24-AEA5D1B0AD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54F6A1C-A92A-4C15-AA2A-683F6537A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C7DC56C-332D-4B71-950F-32E0110F0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D7DEE8-46C5-430B-800D-11CCE0932181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312359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459F8AD5-F584-428A-8891-7F000ADFF5D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9458" name="Rectangle 11" hidden="1">
                        <a:extLst>
                          <a:ext uri="{FF2B5EF4-FFF2-40B4-BE49-F238E27FC236}">
                            <a16:creationId xmlns:a16="http://schemas.microsoft.com/office/drawing/2014/main" id="{1F363298-4114-4586-BBC5-AEAB5BAEC72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E98B78F7-94E2-465F-A41E-FAAB517E446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76690CBA-74C2-4270-B4C2-60770E4CCA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79F2477-683C-4549-B8E0-75ED73EE30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2F0452A6-D58F-423B-BE9F-4335B991B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F99BEB13-890A-482A-8AF8-7BD5B89FB8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9C463EF4-16CE-4FAB-A6FA-2634A70B6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DA66C3-06C8-4DFB-A371-73155A1D681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600105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A366FE7B-D2E5-43D5-997E-30ADAC280EC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0482" name="Rectangle 11" hidden="1">
                        <a:extLst>
                          <a:ext uri="{FF2B5EF4-FFF2-40B4-BE49-F238E27FC236}">
                            <a16:creationId xmlns:a16="http://schemas.microsoft.com/office/drawing/2014/main" id="{AB8CC24F-36F0-46E4-8429-D7F98ECF2CF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ADC37A79-2799-4485-AD82-D08A0CFFF49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2B660A4D-3AA6-4BD9-95EC-6664946DE0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1A59E5B7-BB84-49DE-AEF1-0619EA41843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F390AE6-98F0-4087-9396-A2F32B6C17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C92B010F-E262-46E2-806E-DF35909D9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5EB0989-5C8B-4AE1-A62F-2E1EC9ADB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D4DED82-2258-4E93-9623-E8E0A9D4067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2055793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F548B04C-AEAD-408F-905E-D9EC18EAEC5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1506" name="Rectangle 11" hidden="1">
                        <a:extLst>
                          <a:ext uri="{FF2B5EF4-FFF2-40B4-BE49-F238E27FC236}">
                            <a16:creationId xmlns:a16="http://schemas.microsoft.com/office/drawing/2014/main" id="{9C1C931F-6F5B-425B-8C57-E75D53864E4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C0474B64-C240-41E8-B658-3808B8DF3F5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E0D4B923-0D46-46D0-9D3D-22990DE37EC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427011D0-2EB3-4397-B247-AFD42899C07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3567BF4C-2874-47CA-83C7-29C01F124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514D8A1-BDB1-42AA-A276-37ECB1CB72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33C8BA2-F89B-47C3-9C01-C78793D605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A0AEF24-CAB0-4763-9F9B-10BBE064665D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0234048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E8C377B9-8BEE-42C2-9B32-9154E90451C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098" name="Rectangle 11" hidden="1">
                        <a:extLst>
                          <a:ext uri="{FF2B5EF4-FFF2-40B4-BE49-F238E27FC236}">
                            <a16:creationId xmlns:a16="http://schemas.microsoft.com/office/drawing/2014/main" id="{4ACADA08-B767-4C1E-8816-982C0FB5C02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D898D059-5077-41CE-B766-634AD3DDFAE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A28CD276-8CA4-452C-864F-6CE06A4F46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97B95977-9E05-4C54-9355-BA1DE2762E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715E1BB-90CC-4D16-91C5-A098962C7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B78F563-6B0B-4E78-8A3F-3C2491070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AD69AE8-17C8-47C2-932E-F80FEB573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5F9086-855A-4B2A-9330-4E3DF8139496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0894063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CA1ED954-BCC3-4EE9-A617-CF7C20E6471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2530" name="Rectangle 11" hidden="1">
                        <a:extLst>
                          <a:ext uri="{FF2B5EF4-FFF2-40B4-BE49-F238E27FC236}">
                            <a16:creationId xmlns:a16="http://schemas.microsoft.com/office/drawing/2014/main" id="{657C2AE9-754E-478E-A234-9247A9F5E1C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C60D4DE3-6806-4A72-97BE-39AAFC62710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11EDD12B-6ADD-497B-BF7E-5A5A887EEEB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E182A50D-AA2C-49A4-9EAA-D3883342992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890B7966-DE52-4695-97CD-7EBF7ADBF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53CD6A3-E92C-4AAD-9AA0-8FA07A8E5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D6C7A013-4501-4A86-9F24-C73A8F789C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95A12B-737D-47B7-9709-0E06D69C92C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7000955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4529BB0C-2D71-4FBC-A244-EEB8014397C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3554" name="Rectangle 11" hidden="1">
                        <a:extLst>
                          <a:ext uri="{FF2B5EF4-FFF2-40B4-BE49-F238E27FC236}">
                            <a16:creationId xmlns:a16="http://schemas.microsoft.com/office/drawing/2014/main" id="{FD42BD16-00B7-49E8-85E0-C00AB5AE799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1C41DE78-1F57-4123-A266-F6E1FBC4699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A69F8177-76B5-403C-B77A-8474E18D42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E4F329E0-0158-45CC-A3F3-7EDB0EFF791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889B74B6-92BE-44AC-A583-1FBE25563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A0B9ABED-8D67-475C-99D1-92C4B27C51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576ADB7-1E56-4691-81FC-B3356F1D5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57FC49-F88B-4105-8239-D569E6FB9D92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0783710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F4D494EE-D0FC-4B48-ACFC-AF0E6E7D519C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578" name="Rectangle 11" hidden="1">
                        <a:extLst>
                          <a:ext uri="{FF2B5EF4-FFF2-40B4-BE49-F238E27FC236}">
                            <a16:creationId xmlns:a16="http://schemas.microsoft.com/office/drawing/2014/main" id="{CABFE410-0285-4D8E-8E70-947F548AD9A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FD30F4E1-A511-4A05-AB15-69DDB8FB108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F0FAE15D-43D8-404A-BE12-77C8C89EDE0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4393AAA4-1C8D-4A37-A379-F5D3E75541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0B5B06F-0BA0-48D6-8B9C-169731486F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7431F02-2852-40B9-A90C-C660647A0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6508D9A-36B9-47FF-95B6-5D15E55A0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368F2ED-BDF0-4220-840A-88837DF9EAB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939180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9640BB5C-DFCC-45C8-8085-5AADE18B494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5602" name="Rectangle 11" hidden="1">
                        <a:extLst>
                          <a:ext uri="{FF2B5EF4-FFF2-40B4-BE49-F238E27FC236}">
                            <a16:creationId xmlns:a16="http://schemas.microsoft.com/office/drawing/2014/main" id="{7076C0EF-C8B7-4528-B407-038237FDAD9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750FA297-AD73-4FB5-9565-1728ACD708C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238A7942-E00F-4893-AB34-5E3D5B5DE0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9B5CC24C-2668-4D41-B577-08B4722BED6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31DC4D4-169B-4FBA-A9AA-FCF8517A62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4D9BF04-2EDF-4E47-8FC6-0FB3954E48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212816A-F994-4A9B-BE23-80EF625B95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37F4F3-21BF-4E70-8737-0E6147C4AD2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990068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3E348465-A588-4446-BF3B-92FD835087E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6626" name="Rectangle 11" hidden="1">
                        <a:extLst>
                          <a:ext uri="{FF2B5EF4-FFF2-40B4-BE49-F238E27FC236}">
                            <a16:creationId xmlns:a16="http://schemas.microsoft.com/office/drawing/2014/main" id="{E722F3E9-DE2E-4AAA-B0B8-8FFB3CCF5A5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67571C9A-C2E0-4DD8-937F-D687F84B9FC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D6DCE8C0-B744-4D79-ADB1-310B7DD4E30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B8676C90-42C8-4788-8DB8-33F6A48AD0C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49C6658D-271B-4245-8B98-A616127505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81E7CAC3-8272-4B06-95A7-41D9DDD55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F81725B-A49D-45A8-BC37-2FDE62ACC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C3B174B-5B88-45E4-848B-F4139AF3356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61221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17446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D6E731C-42E2-468E-B78E-509931CB990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162729D-6193-410B-A42B-0932BA001D2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BB35F6A3-BCE4-41D4-A107-7D3DECF1B186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A9338C34-1AB8-4917-AF86-A92D62C14C98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8056395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5A59F7CD-EBCD-4546-AAF2-D92129D8C36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5A59F7CD-EBCD-4546-AAF2-D92129D8C36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0C62C556-B7AA-4937-BDE0-447B2233370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66D4AF3E-22C0-40C3-A099-3B7E9ACDDD3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D6F6BE0D-B517-4D53-8CC4-D070BACA6C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33F85A4-80C0-43A7-9603-0CD85D4C0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6682F10-B415-4837-8B1F-46EC63F900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35163CE-F778-42EC-921D-076C60ADC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B4D6B58-ED82-4983-AFFD-E2E5DAAB372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081596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8850D6B7-1306-40C8-A7C2-B0B911423BC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8850D6B7-1306-40C8-A7C2-B0B911423BC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A0D42483-4622-4F39-A6C5-96A8B282A11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EC0AB0EB-CE65-47B3-B4F6-020F8BE2CD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D7BE330-F1D7-4C5F-8743-7B740D9E88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B20C59B-6427-4252-83C9-03A545DEB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244EA3C-CE8C-4B5B-B2C0-9C557E423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E5C7FB4-CCE1-4A01-ACB7-F857A705FD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19DE91-5D26-4ED0-B5AD-BC22C8A0C58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6143510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D6A5B4D8-C423-4CEE-8904-3CC32D1C961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D6A5B4D8-C423-4CEE-8904-3CC32D1C961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23EE7D95-13E4-4AC7-A2DE-06FD0A9E032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B0898836-5619-45E7-8FAA-79C4146F7F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1EDFD87F-98DF-4B93-BF4B-530C83D5431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B5489E98-203A-4221-A9B8-5BB2F5720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CC8E6BCB-BE69-4B9E-A003-7424BC46BB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67CA582-4914-40E6-AF5B-50F86D23A6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11DC11-343B-46D9-9CB7-3A15BDC10626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485596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4E8662B2-9858-4B17-A4FC-94C2B5DC633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122" name="Rectangle 11" hidden="1">
                        <a:extLst>
                          <a:ext uri="{FF2B5EF4-FFF2-40B4-BE49-F238E27FC236}">
                            <a16:creationId xmlns:a16="http://schemas.microsoft.com/office/drawing/2014/main" id="{CB79D9FF-5645-45FF-A5D8-1193852237D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56BCEA4B-0675-41E9-BA3F-6AF8907F548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32276DBA-F57F-4410-9AE3-3F345D83ADC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F19D4F00-06B7-4AA3-B1D3-7A4CF8E452E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B0777A1-E7F7-4843-91F4-6F2C297CA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331964B-4CD0-4D1D-87C8-40A3A9830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43DCC52-9526-4B7D-BA27-D81126CF33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2020C47-D0E5-40CA-8AFA-A9D09A83FA0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55096354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EBC87E56-7461-4AAA-B15D-BF0B61B162E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EBC87E56-7461-4AAA-B15D-BF0B61B162E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FD1F4C07-2ADA-45D0-B333-FE09F1D6E26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C36D484B-FE73-4901-AC84-BAA8F44BFAA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EBE24CF-A538-40F2-B919-78697700CBD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6CDEEAE9-5BC4-46DC-BDD9-B9D4E9910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1475CD14-5BA0-4426-A122-4D4A2B54A5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FE0C53CC-B17A-47FC-8C25-1786464286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E840C4-A2AB-4269-A46E-DA37C61FDDD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12111845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E8287DBA-333A-41CF-924D-0C48C7CC146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E8287DBA-333A-41CF-924D-0C48C7CC146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2E512EA9-9FEE-4C23-9D0F-F1B61DA3CC8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C1157691-6590-4F26-A865-49D646AD6D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586BE42F-1289-4190-BEAD-AC2C4F6AA00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6D499EEE-3981-4820-ADD4-F70AC19D4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60C47E18-CED3-453F-9BF8-DA69BFDEB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1BBF05D-6839-4B6E-B160-7A249BCD2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D49B40-1B2A-4DBB-9D8E-6BACF7ABEE2F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195342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B04E420E-4BD6-4F4A-9A38-730A529CCBB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B04E420E-4BD6-4F4A-9A38-730A529CCBB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E83C52B1-412B-4A4A-9217-DA2FFD8DF3B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E6AE0071-C112-46A5-94E9-384595102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99AF5C89-9A82-4035-A5D5-66A9BAD2EA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8FC9C1DE-CEBB-4A7E-B5FF-4F2A21329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67CD844-18F8-4031-96A6-F7936E892C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B233392-313E-4A6F-BF92-50F8D6727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9A869F9-0050-41AD-9402-995A86068351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818787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CCAA2721-FB0C-4BD1-8781-BC7DC778A6B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CCAA2721-FB0C-4BD1-8781-BC7DC778A6B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873F1214-12A6-44AA-AB2C-4D210A471C6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34299A99-C2C0-4C5C-A5E8-D0097FB01FF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802601F8-43EC-4AF7-AE31-5AA13A19BF9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DE317215-C653-4A43-B153-664F9DA0E8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1916F08-F754-42C9-9DD1-93EC3ADF52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8095ACBC-E1DF-4AD3-9178-5A794A981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21B3E6-D11B-422F-9B3D-91EE5CA396EA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449588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68CFE860-749D-4825-BFFE-C98BF857604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68CFE860-749D-4825-BFFE-C98BF857604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5B02FC4E-0ECD-47D5-957E-E53E771BAE6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0E9FA72F-B1B4-4888-9E2F-E4289045AC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064B537E-CD74-4421-9147-CB03E85D777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A2F7FAD4-FF88-4022-BC27-5A066CA3A3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8C0EDF7-EB55-47E4-B0F2-689C4074A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108B30FE-2106-47CC-BB15-22ED33028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63E389-491A-4D70-B75C-1E6DB8BA6D0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78921537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CE5B377D-6859-4D88-BC76-1291E01AC53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CE5B377D-6859-4D88-BC76-1291E01AC53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E86F7EC6-9B54-462B-91F6-3319CA974DD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C1A32268-FCDD-4042-B959-B5EFD8076F0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82943ADF-7137-4C91-9A45-116F86D3FA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F33A630-60B0-40E7-8593-F99ADB3D14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9C87B8D-09FD-48EC-8BFC-3C7C33550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36C87E2-D1F4-4063-97C3-D114EA5BB3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E878786-F64C-4B3E-8A3A-376DC17FF57F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99716839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70E2E32F-1139-4299-B57A-F51D7F60D49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70E2E32F-1139-4299-B57A-F51D7F60D49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D40BDD26-C380-4D15-B91E-FB991194A19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2BDBA3F1-1F9A-4A7A-8C0A-287C5837A60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DE7FF61B-5692-4962-B176-82C7C64A61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6DE6F1-C45B-4BB9-AA0A-8600209062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29DD3AB-2A85-498A-8AD0-1777CD5E2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EDF4B10-722E-4BB7-9CB9-606E1DEDF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EFEEAF-A52C-483A-BB5D-D90A9434EA4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4651226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DEF632E5-9B53-498F-B78C-35CF3C71E5E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DEF632E5-9B53-498F-B78C-35CF3C71E5E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CB64BF96-1E34-4921-BD8F-4FEFE2B25B4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13863265-9F7E-41E6-A27E-362F22C641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166D3D30-AF05-4F7D-B7D0-4A42B1E76F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D036EA66-8815-483A-BA56-37AED507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70E10E2-BC37-4957-82D1-59553B057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C57F048-D5D7-45BD-80DF-678A1B523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92FAB13-49B9-4E59-8641-E872B8B69F2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6523336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914400" y="1981200"/>
            <a:ext cx="508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981200"/>
            <a:ext cx="508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914400" y="4114800"/>
            <a:ext cx="508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4114800"/>
            <a:ext cx="508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4590D0F0-6B35-4C1E-98DB-5D6E8BF8838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035921B5-5323-45AD-B874-39C7B43DD5B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CA758B34-AF4A-42C9-9D29-590C3EFB6EB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53FDD37-5B88-49DF-825D-2D5F097B65F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592594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6326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D2554900-5B09-4FDB-9316-326018B425B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146" name="Rectangle 11" hidden="1">
                        <a:extLst>
                          <a:ext uri="{FF2B5EF4-FFF2-40B4-BE49-F238E27FC236}">
                            <a16:creationId xmlns:a16="http://schemas.microsoft.com/office/drawing/2014/main" id="{FBD48151-D556-4A99-8F9F-17AB1549C2C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4030592B-1303-4B1D-9044-B330A3BF3EB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92A2423E-268C-4968-A297-F0311876AC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D608BA14-7326-498F-84E6-CCD10EF090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09ECCFDF-A3F7-471D-ADAF-76E0085EFA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6C6F90D-7CD1-4023-986C-53A96537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DD65A42-C2AF-420C-9355-99BD500570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7AB37A-D5B4-45F3-A5ED-1676B259F18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86452746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AC12704-12B7-494B-A85B-9C166268A59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F67E260-09DF-47AA-B176-B19E4D95054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CDD8FF4-D903-4977-AADB-D458719A88A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3F046CC7-EAEE-47E7-98E1-20254A07184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0162461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DEE670F4-0FE0-4CE7-8AF9-E8E3D40AEA5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DEE670F4-0FE0-4CE7-8AF9-E8E3D40AEA5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C77E27EA-52BA-4A68-9E9D-A9F5D011EBA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C37E6713-DB93-4CCF-A042-6AB0EA70A0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A2188DD9-13E8-48E4-A4B4-0BCC563CF7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AD109A86-92AE-4544-8C2E-55135C344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F333848-28DD-4988-B6EF-7D4873090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5277B79-8ED5-46E1-BD69-991067616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9B0268-6C4A-4B69-AEB7-47B614F93612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484713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56C69B24-710C-46DB-9C6B-7FCAAEC2006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56C69B24-710C-46DB-9C6B-7FCAAEC2006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0E57B8D4-8801-485D-9827-DC3F4FB026D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F59DB9E6-D3AF-4B9E-A166-13269DBA3B4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BF17BEEC-B5F3-4FD2-A5A0-6E0703C3C38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074F8FB-0472-4B48-BC1D-4FCBC1CEF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55A03B8-1F71-484A-B4A8-7C15FBEB7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7EDC0C-F74D-44B1-B0E4-F517DAD19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F203FF1-F661-40F2-B7DE-57CFC4917BD1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5161758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A89B6E82-75DB-4819-8383-ADB9804CBC7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A89B6E82-75DB-4819-8383-ADB9804CBC7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256BFA4F-CEE1-4179-B580-0CC77CB51F2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5ABA7D36-460F-47DB-80F3-73C4303C527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609F2F22-F689-4E97-8D9C-016F3582C19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F6A86CE4-550B-451C-AC75-B1FDED1817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48B37798-9AAF-4F95-8A5A-204B126CB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443D95B-C885-48CF-8BE7-056A5B499F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2E76E07-4FE5-44C7-A173-D24AC04DF88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1308649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CFB34077-C1D7-4E10-979E-3B73B29AD57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CFB34077-C1D7-4E10-979E-3B73B29AD57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55B2A036-0021-42A8-9D90-03B2BF498EF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9F3C1FD6-1D6B-45A3-86F6-7294BAE2BB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A07E11-3525-477D-8E6C-C156F9C1B8C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97A2B0EC-4ACE-4699-9B6A-21E7EFE8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53A8E4B6-5694-418C-8B90-93D1A065DA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75C78F82-D8B8-4B79-8D98-CCFACBACD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D1D37C-9E7C-40EC-AD9B-F988FBEC963E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566946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A122A3BD-D3B4-42F1-ADD7-1B93C3E8746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A122A3BD-D3B4-42F1-ADD7-1B93C3E8746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60CA02E8-AB9F-4343-9BC5-5F3AF4ED780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80512100-76A5-4D99-BD4E-9BD2D5F893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8BEA53DE-8505-46F7-9690-A62A83EBAD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84629034-E345-4197-8F95-90F17F2390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9A5C34C8-E740-4039-9CC5-2A99CB943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EB174CB-1C66-4A7E-BDB6-D2DE7393B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B553B1-C878-42F0-9041-E871C282C60A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8238150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32009C8B-D810-472E-9748-AF2F4A933B4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32009C8B-D810-472E-9748-AF2F4A933B4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6F59F289-833D-43A9-BC3F-81F84B3CE96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493E30EC-C1C3-4BCB-8EEB-B1C639A857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E90B5225-28D7-46EB-8BEF-830F0B07A8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CBAD7403-A530-4692-B2BE-0F300BB601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9AE832-4E4D-41D0-9849-89F1DAFCF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60A160C4-2567-4F01-B018-7BEF54261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2647EE-06FA-4BB9-836B-8587BF953EB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2805801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179F7AF6-E833-4C1D-BC43-1E32ABBB757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179F7AF6-E833-4C1D-BC43-1E32ABBB757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FFB418D8-36A1-4325-94CF-1C0AF8FFBCC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BBD39B79-177E-4BA8-84B3-3231DF3425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A8460E5-84E4-462F-A2E2-88C35A90837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E9A36603-46B3-46E8-8375-EC1FB69828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9D666C03-4EFE-4D37-BAB3-F6F6C1E4BE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65CA1D75-D495-4A03-BE40-C08132A16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F5435F-F1E0-4AAA-8D8B-7831423A136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8778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FA3099B7-B3F5-4DF3-B095-61A955A812E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FA3099B7-B3F5-4DF3-B095-61A955A812E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B42E2C23-A020-4683-B2A8-85BDBED8213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63DB9BEC-04B6-4D54-A87A-6068843D66E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F8BC90F9-C0CA-4EB4-A912-A30986B20CE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1E33AA71-F6DA-4648-8E23-94F663814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526252E7-4979-453A-8EEE-EB9B16794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6C7CAE9-8940-4F95-AC60-6E4FA0AEB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82CC52-4A05-45A2-B682-44BF45B5984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317973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0BAC2020-EBEE-466C-A8B8-565CC1A37026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0BAC2020-EBEE-466C-A8B8-565CC1A3702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C046C1DC-A5E2-439F-95ED-39359719164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CED2A83A-2709-4FE5-8FAD-8D98E38023D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42B4AACC-CEA6-4D71-81E3-DC8A1E716F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753FD70D-5980-4467-B192-B2CA2F82D0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27C21F8-8DE9-44E1-BDD7-8CDDCBDED8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C753CD4-FD46-43C6-85EC-2F87BF063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9E33BB-BD54-4833-84A1-ED55FA76362B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238375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5B7DBD86-04AA-49DB-8772-6980AFCC1E1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170" name="Rectangle 11" hidden="1">
                        <a:extLst>
                          <a:ext uri="{FF2B5EF4-FFF2-40B4-BE49-F238E27FC236}">
                            <a16:creationId xmlns:a16="http://schemas.microsoft.com/office/drawing/2014/main" id="{8606C0D9-ED47-451F-803E-715F9B8E392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B8F0DDAF-08D1-4D58-AE61-25359085504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3198D831-A2F2-45EC-A206-3574E39208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D35E84-36A6-427F-A7AA-A6EB705B1F6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EDF4D509-ECD0-4001-926D-EDB5C3E2A7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267D021A-2E2B-4DF8-9CA6-9AC165AE1A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35AF5F6C-234C-40E7-8833-46278CCBF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9B5CF3-B11C-44B0-875E-E2F9E413BA66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7704039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E7FD280F-862D-4110-8740-974234EA670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E7FD280F-862D-4110-8740-974234EA670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02A29496-83B3-49FA-AAA8-64EB24E08A2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9722AFF3-AB10-4328-8DC4-8727B85DCD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7EEADD36-31CE-4A9F-A720-A1A41978699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E9ABFE4-EFA5-4803-99A7-1BAA123D6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2699D7FA-22BB-4486-80F9-9764AB8C92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A76EEE9-B283-47A4-8C00-D272078CA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2F89EA-FF00-4F68-B005-042E2A53450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22364351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4E4D4AD8-539E-4A99-9062-B60B9CDCC4B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4E4D4AD8-539E-4A99-9062-B60B9CDCC4B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2950E9C3-D48E-458A-A48A-1C1B7B19401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CA0AE21A-FAC6-4259-9134-99A8257D468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4BC0A9CD-1293-4BB4-BB02-7881B56BA8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1365685F-8C6C-42CB-AE24-1A3465DE5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F2F688A-D07F-4CC7-8494-263A26DFED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B668C06-BDDC-43EC-B442-D362F95E6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A70D88-0A5A-495B-96BB-C1B62B5788F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6997686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133AEF8A-2F19-4EF2-BFB9-F8D362D4977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3B6964A-7B9E-4443-AF2F-5C984DE4196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E7C1E50-4EEB-4F7D-B4B7-4E585001D63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1C031A3-6166-48C4-94A2-9926D488AD7A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8041998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5CA4FB4C-29B9-4A4D-8A37-ABAF17243A6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5CA4FB4C-29B9-4A4D-8A37-ABAF17243A6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1F747DD4-B1AD-4CC3-9021-AD97D84E210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B0E19030-8B0B-4CC0-9368-CDFEC2645F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0C232F63-4AED-4396-B2D1-55510F838DA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58A4E549-11FE-4076-AD62-C91C88EE9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A2F8C6-6972-4546-9D95-D24A93A876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B2D7118-A750-4C40-A9A1-3BAD39C28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C7EC57C-F418-47FC-9EFA-445E3DF1DB36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73696851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A0554CB4-C969-4AB3-8358-DE9579EDF14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A0554CB4-C969-4AB3-8358-DE9579EDF14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014398A6-ACC7-4DFA-8861-3967BB5D62D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90C374CE-2792-4DCB-8045-B035933D62B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063E2A1-E12D-4472-B55B-25F3FF73F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8400FE6A-37F0-4254-98AA-F27F5E34C1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CCFE7A0-523D-4994-A0F2-C03F2CD66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8806234-54A1-4B0D-880B-BA482E2B4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C47AEC1-06A3-457A-9277-F6CDFF40384E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4400068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617342ED-667D-41BF-8781-389B7B1AEA7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617342ED-667D-41BF-8781-389B7B1AEA7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FEF4C4AC-4E83-4F6C-8A66-FF327136D4A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9F1E30A2-D8FD-4ABE-9A3B-095F288D1A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CE7D9EA-FFF2-4020-9C6A-0C62B92094B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4D762210-265F-4E66-8D28-61F9BF4615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869300F-E1C7-4BD3-985F-CA346BBA1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25B3672-7CD1-435F-9BAD-0428F41703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7793199-44E6-4596-9F8A-899DCE23C321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2567988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B4157268-CEE9-4E58-B42E-41E52477865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B4157268-CEE9-4E58-B42E-41E52477865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0001A8DE-B689-439F-9A95-B28D27F991B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F29DD17A-7795-4340-808E-A2DF56EA475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DD4380-3E48-44EB-8241-1255282E31A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AE914DA8-CDCB-4D39-A85C-1B3DE1C2F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006966DE-5654-4939-9563-2DD3E916CC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1CD1D9E7-5BF8-4FEE-AAFF-BBCB8CBA4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25607F1-DE4D-41DF-8FFE-59B6D442D3E4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9280092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A8CB4249-28B8-4997-9FC7-724EE931B388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A8CB4249-28B8-4997-9FC7-724EE931B38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417BFD5E-0E32-42F1-A290-5E94E40F21B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947BC33E-0BCE-4D18-8246-DC75B1CF3D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BB37778D-3E6C-4EAE-8AD2-51EEF7C2ED4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38FDC83F-21B1-4357-89D0-8B15277FD0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6FB7F05-4A4D-4C0F-9BC9-F416C5BC84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DCC5208-6956-4C27-830A-4B9BDDDC3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CE46653-516F-41DB-8C60-0BFAF22C08A4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031502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0A00050D-DA2E-42A8-A617-5C1C8E901BD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0A00050D-DA2E-42A8-A617-5C1C8E901BD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AFD464E0-5327-482A-A979-EA05CD0046D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381F0E2E-BCF4-4B83-A4E1-9DF3E7D73A1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F01BEAE-889E-4A94-95C8-D5095470FAB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A6486D87-A7A2-4038-B9C9-B0AAD5FE28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C511ADC-16AD-4379-9D98-A9AA9B4B1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E9208D0-A59A-4099-A2EB-14D1A7D81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14833AB-CE4F-4A40-B910-9507D901CEAF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45757740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F4F6E1F7-8181-47F1-A9AA-DA2F4B5587B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F4F6E1F7-8181-47F1-A9AA-DA2F4B5587B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EF612974-DE1D-4CCE-BC1E-333376F56953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D2393BA5-45D8-4F95-B709-A7C96DB69B8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63D73CDF-1EA5-4B23-8D8B-B184BA8179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CBAAF5E3-1B7C-4AA6-BF71-71C7DAAAF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4619BBAF-FEC5-48F3-A5A3-277C31BFC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45DBE11-8BD8-4593-88E9-21835E7C8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1A1F2C3-E9E8-413E-A33B-4B7336F64647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959082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608C3628-1A3B-4232-8DFB-B259FC66F31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8194" name="Rectangle 11" hidden="1">
                        <a:extLst>
                          <a:ext uri="{FF2B5EF4-FFF2-40B4-BE49-F238E27FC236}">
                            <a16:creationId xmlns:a16="http://schemas.microsoft.com/office/drawing/2014/main" id="{3000EC79-C471-4451-9018-17CA43242B36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B55010C3-2E5D-40D2-8B9B-D03F6A2D86A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7DD3B614-BF5D-4FBF-AF9E-837B03CE951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DF42E89A-0BB5-461E-AA45-995325D333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EC4E66B2-204A-42D1-AB8F-D1180C9D7A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7F6D22A-1F4D-46E3-80E5-270F65FC86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96766243-0E53-4FDD-B8D7-CBC1A79B6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9AFDD4-B004-4EC9-B2F9-296C86696371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5563218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F09DDBD2-E7BC-4EBD-BFD4-16D5293ED92C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F09DDBD2-E7BC-4EBD-BFD4-16D5293ED92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CFA6EDCD-99E4-499B-AC8B-7744455DC34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E6B9DEDD-5ACE-48C5-9C5F-19FE4AECD6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A87D90E-8554-4FF1-9DC0-452E7E9B897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C42CB3CD-7AE8-4777-9956-7D635E0E9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2C1D669F-2D93-4B24-B722-8175F2314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3F0AF2B-0B05-4590-A4A9-8224C3794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019542C-90E4-4EF1-AEED-06039F75F738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28827415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4DDE7CE9-5C07-414B-870F-28B588A6D9B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4DDE7CE9-5C07-414B-870F-28B588A6D9B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DB600AFA-FA00-4E20-8119-4DF1C075B05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29BF4ABD-8617-4EFD-9AE0-67F635873D2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EE1C98DF-0A85-47D2-B74A-AA5611464E1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8A54363-E299-45C2-A06D-2A0EF8B046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E8C999F-5976-4162-B404-C4965E1C2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4AF5B2-DD1A-4E76-949E-52B8B42BC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DF3178F-83AE-4EF8-B157-CD639112245F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94693121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59D066B6-49F0-4766-9D3F-584CDD28343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59D066B6-49F0-4766-9D3F-584CDD28343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B0CEB79E-B93D-4FD4-A8E3-9A0248C21C5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8202C049-DBAF-48E8-B8F4-653A2E9E3BD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8DBF2772-5D8F-464A-8EF1-B885348C016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F935CBE-9870-44FE-839A-5C748F94BB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1EF16C0-6326-40A9-AA61-5E3678FCAE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1B97244-176F-46A8-AE57-93ED68B56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EFB41A-E697-43C8-AF56-66A7553CE721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6712263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106065DF-20C1-4E8D-9581-3FD549502921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106065DF-20C1-4E8D-9581-3FD54950292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ADFBFB08-07DD-4EC9-9D02-9CD63097DCE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686CF74F-A1EC-4E11-A6A5-E097141AD6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6A20D8A9-EA33-42A6-9D30-C9DBB2A603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209E46D3-4052-49F7-8CB4-8DC1E3002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1F886EA-CD95-4561-9EF3-E124626C1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7406CEB-038A-47FD-B74D-814B62BBF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6BB9AF-A911-40A8-9A22-58C81AC7BB35}" type="slidenum">
              <a:rPr lang="he-IL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778992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76D2D6E3-A845-44EE-873C-6C9FBD641654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2473C2D-EDC7-4F9A-8665-622B5B66305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2D43D7FC-AFFD-4F08-928A-82375FA78A43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B7831D7C-691B-4449-85AC-4ADADC8105DD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6231762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E54F1DB0-5739-47DD-B7B2-6164C56514C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E54F1DB0-5739-47DD-B7B2-6164C56514C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DF714ED0-000B-4943-A29E-22E2B639C42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7B3B1F5B-C6C0-4421-9A84-F205FC69E55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005B915F-E9CA-4425-AB78-7E04D4D413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5DC20C-F398-4B0B-A545-C0D9B2031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1FCB665-2A52-490E-96CA-746D29DD1A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E39669-6810-41E5-AB6C-2CBBB795D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3C73DC-3375-4646-8254-0B4B9083CA04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178493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370D4E09-1BA5-46DE-B383-3A76EB36A30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370D4E09-1BA5-46DE-B383-3A76EB36A30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A308DC18-6764-46F4-9C6A-27826B403943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FFF42BCF-1502-4732-BBE8-F8A4CE4E900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7B5CDE0E-7FB3-4395-BB15-B185BD03FC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AA3639F-DB38-4AFF-9143-4EDF70BB4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18ED927-4FC8-4D4D-A2F0-084D0FB6A7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B9CD00E-4DBA-400F-BFF2-333285493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D8AFC26-ABF1-4D18-B0D4-54BEC85657E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03274856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77AE9D5D-3897-4DAF-B5A3-26EA53732AD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77AE9D5D-3897-4DAF-B5A3-26EA53732AD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BD1CD035-6610-48C0-ACB2-EAB91F7BFE9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475B91D6-7961-409E-B486-1639ED852C3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66955F89-ED0B-475E-A5A7-498F70D1CE9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86859F6-CF55-4ED7-B6B4-9019642B2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C197DC33-2DF4-45E3-BF25-D53175205A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FDD124B7-EF7A-40D9-9EA9-5F733D7A9C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0158628-0C68-4265-BAB9-5FED035CB9BE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7306270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DE07D4CE-51E2-4E91-8C85-28C38D33DE9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DE07D4CE-51E2-4E91-8C85-28C38D33DE9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DF26AF70-285A-4A85-8742-BDA6A06700F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C263D2C8-A6F3-4BBB-A937-6E4329F4F5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E384DE-CC1C-41B5-B33E-D86C8640A5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A05FD126-0A5E-4315-A780-009140AAF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48C79EE1-2570-45C4-A709-41EBE560E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163D6647-007F-402F-9F38-1641F6146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84DFB48-7CAF-4147-99BC-6CF9287E8F5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37025743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A9B8EBB6-BC71-4A85-B804-33565B74D90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A9B8EBB6-BC71-4A85-B804-33565B74D90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0A4D42FB-22F5-493C-81EF-018DB719D25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8493CF9A-6631-4630-98B3-CB7F6541662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DA6EA5F-653E-42B9-9153-1F558A29F2F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2183B176-248B-478F-AE9E-F840176989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71901AB-68E9-4CED-BB52-174AF7606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E429B7B7-6CBB-4672-AC8C-1AB912EC7A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6D4FB-69E6-4430-BECC-32B3996E24F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3517894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EF0E0C25-E296-4B2B-8D58-94D73E818B97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9218" name="Rectangle 11" hidden="1">
                        <a:extLst>
                          <a:ext uri="{FF2B5EF4-FFF2-40B4-BE49-F238E27FC236}">
                            <a16:creationId xmlns:a16="http://schemas.microsoft.com/office/drawing/2014/main" id="{B50CDDE6-ED9E-4405-AA0C-72E592D11AD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9EF22FD0-1134-4B2B-BCA4-4619EA0AD22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06C0B8B6-E11B-4893-AE83-5CE90E5723F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EDA0ED87-7E57-4AF0-9F63-3C0A2A96E9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CBCE06B4-B1B6-4D99-B23F-74FE5EAF6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5774CE0-248F-4447-B369-92B5EC89C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968A8C0-8BA5-4911-9B1A-0DC4AF9C5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405D090-8257-450E-BD5B-AE999B8D8C89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0946560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F80F66E6-D5E1-4A78-8A63-280DF8E717B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F80F66E6-D5E1-4A78-8A63-280DF8E717B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8EF7B259-607B-48BC-9700-AB05BB54ED88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9CD7A44B-C431-446F-8F62-A9D645770C9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178436-EE31-41A3-B63F-69EBD6239A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E7435AB1-408E-4009-BB7D-DD3F6CCFB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DE5ABC99-1B10-4730-8F84-16220C697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CF7C4488-BBF9-4E97-AEC5-70F85E2E48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F483BD-A00F-438C-9AC7-5A872578565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81244194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6D5F6A62-178F-4469-ADC2-0026ADEA056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6D5F6A62-178F-4469-ADC2-0026ADEA056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EBBACECE-1F27-4D90-85B1-95070CCDF2A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5D9B48EE-150C-4B12-BDEE-EDDBDAE73C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EB1887F-668C-4E09-85F2-69F276CE543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58981215-9836-4A56-BF3B-A1184914A7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F1B9C249-4F72-43BD-9A2B-0F3F19B54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D6CD027-7299-49D6-B8D9-C6AB1F8DD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17B860C-D89C-4056-8B6A-6286F73AF34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71649600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10AAEADE-B0CB-435D-85EC-806F40BC5E0C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10AAEADE-B0CB-435D-85EC-806F40BC5E0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ECF093B5-0835-40C1-A871-EED94EF2E0A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FD470B67-8FDF-43C0-96E4-05FF3D3E89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26F77889-7728-485B-B853-B3AED77D2F5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8B55ACC2-6B53-444B-A67D-D3C12DCCA1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E40078E6-DBF2-498F-A0DA-C86775897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A11D9EC-AC20-45AD-9046-FF3D33626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163C32F-30FE-4364-8C61-E5B0E2F9D45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49742407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0DB767B2-C0EB-4CA2-8712-04FE68CFEE8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0DB767B2-C0EB-4CA2-8712-04FE68CFEE8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8868EA57-B713-4E4E-9B3E-6195943BD86B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ACAB9522-DF72-4A2F-A26D-8560A3F446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1B109A17-7D52-4BED-93EC-FF3EBD9C0B3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07E822A7-C08B-484F-9190-9341732AE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E27776E-29DA-401A-B0C8-7C99D64377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FFF52D-FBFA-4400-854E-282E9B1E7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1573DB-B24E-4FDF-A6BF-B88F45341BAB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5933413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F575DFDA-5FFB-440B-AD72-5D5870EF3118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F575DFDA-5FFB-440B-AD72-5D5870EF311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8853C21E-7E14-40E7-8109-CD8D47D87A3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743ECD9C-91DA-4540-B677-9833A7824D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D991A0B8-35BF-4002-BEE4-5783123618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4CB703E-2B6C-42B6-96A5-7C634BD362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FA15E83-900F-4AFC-9813-B05D25571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02A437D-9610-4718-BA16-1DCD59C1D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12D3C3-3A28-42A0-A773-905FB42AB5B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5211268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BD4285B8-CF38-44F1-BAA8-655FA4E2F1A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BD4285B8-CF38-44F1-BAA8-655FA4E2F1A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253B1CB0-9697-4764-836E-A51743AED13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6F78DCFE-C45C-4CF2-80D1-6DDC985F1D0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6EA8D248-58AC-4AD9-8FDC-269F623D04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87C29149-3B72-463A-ACF9-189A48021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FD2B5AFA-CE28-455F-B147-DF4FC0E4AD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63626D1-2DDE-4CED-884E-E88C4907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A0084E-AABA-48CB-8682-09F5610433E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3085883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>
            <a:extLst>
              <a:ext uri="{FF2B5EF4-FFF2-40B4-BE49-F238E27FC236}">
                <a16:creationId xmlns:a16="http://schemas.microsoft.com/office/drawing/2014/main" id="{D8885A0E-3B52-4782-B5FA-87E9E2617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609600" y="205979"/>
            <a:ext cx="10972800" cy="81889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>
              <a:defRPr sz="2800">
                <a:solidFill>
                  <a:srgbClr val="4B566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/>
          </p:nvPr>
        </p:nvSpPr>
        <p:spPr>
          <a:xfrm>
            <a:off x="609600" y="1381347"/>
            <a:ext cx="10972800" cy="5168912"/>
          </a:xfrm>
          <a:prstGeom prst="rect">
            <a:avLst/>
          </a:prstGeom>
        </p:spPr>
        <p:txBody>
          <a:bodyPr tIns="4572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6008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8E6BF23C-2A78-43B0-A7F9-FC26A56F13F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B5214AD-724C-49D1-AF0F-9F898A092AC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24784E10-6B5C-4487-989B-99F2BCCB76E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A051045F-D205-4206-B052-1D50D95DC7D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5444998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9ABDD8B4-6F73-419C-B11F-563630353BF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9ABDD8B4-6F73-419C-B11F-563630353BF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46F5579B-069F-4A52-8516-A5A039271CE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CDFDF792-EECF-4C46-BEF1-4C039922F18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83B0A568-DD86-4601-A507-9AB926A547D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2A3EFA59-C442-470C-ACB8-950C79A74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B80B7F0-7053-40F6-B9C1-6F6435D97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7E760D9-654A-472C-8D6B-E28D85E38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8356B4-301F-4C4F-8907-3220DBDFE08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3900323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3DDB796E-84EB-4E17-855E-D0FC6B4736A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3DDB796E-84EB-4E17-855E-D0FC6B4736A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462753CA-46C3-4ED0-B668-1E59EB0A451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6A616329-D33D-423F-A392-027D26F932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D278BFB-4041-45D0-A87A-C835BDD07D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7A5C4172-AE22-46C0-ADB3-E3AA4C7C8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E9528AF5-4334-47C3-9706-8C55CE547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24CE519-37A6-4698-8F30-E65BD7992F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DA587B-CF0D-49F2-AC40-1216379352E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2470489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10FF0B8E-BB93-4790-BA8B-9FDD03A9B15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0242" name="Rectangle 11" hidden="1">
                        <a:extLst>
                          <a:ext uri="{FF2B5EF4-FFF2-40B4-BE49-F238E27FC236}">
                            <a16:creationId xmlns:a16="http://schemas.microsoft.com/office/drawing/2014/main" id="{90054B92-2364-48F3-AB05-8C9F97ED9B1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5E922D51-DC25-4AAA-B1C3-953CB8553A0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B0C3DD16-4B9F-4F03-8C1A-E57C6AA02BA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90EFC737-0C31-4596-B69B-EE0A57F121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CFE3D264-DE75-433B-AF8C-45A57D59D1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488C851A-D242-49BF-BE25-F4B4604B3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1CAD826-015E-4B15-B53E-957BB20F03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B9B7535-F55A-4001-93FC-2FB2DA9CE292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13305532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B6233D1D-D149-43C3-8184-E7E02EAE9D4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B6233D1D-D149-43C3-8184-E7E02EAE9D4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4D86F6D0-735D-4A64-9606-0650FFDD2B1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6010C34E-6CEB-4D26-BE80-3AD2B0F0C8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C226F0D7-AE53-4844-9EED-EB49AB8B84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A510FDC4-E397-4A7F-AF3E-F437CCA52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24B0F51-17AD-4AB7-85DE-1872B362E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E16D299-F8E0-4C2D-B3DE-332D51E2B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10543A-D503-4F67-BCDF-58AED085E038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0537549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6BA845D1-FF8A-4433-B779-CDF13F54231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6BA845D1-FF8A-4433-B779-CDF13F54231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20FC991A-FC98-4692-BF71-8DECFB00009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D3EF43E0-D793-4C05-B8AF-DAF8301651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47B2E8E-7DCA-4F0D-A201-F76CA91116E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772B2D44-7810-410A-9A81-152EC9F4E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3D68FD73-3AAF-463C-812F-802236265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B2700256-DADF-4A77-BDFE-CDCEE3A56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E06836A-1E67-40FF-8EE7-452E9910189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51509448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CB4DD750-15F8-4046-BBEA-1F5BD959ED8F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CB4DD750-15F8-4046-BBEA-1F5BD959ED8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EB5C9F51-6E05-4E0C-A545-9BA730EF3D5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B48B9AE6-011B-42D9-B96C-EA0E5E0F5E4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3D9E7A8C-73F4-4699-AACA-DB663882133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370919F3-7EAF-4FF2-A5DC-93B6DF9762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3E390F7-BFE3-41F8-959E-053D44F4D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9114F04-D19A-4A35-87B6-CEC989548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7F2F63-F322-46A6-AFC6-E9B51F3F4D0F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2400195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F761376A-236C-4971-867F-AA4120250854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F761376A-236C-4971-867F-AA412025085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9191618C-16B5-44C0-AFCD-A15FC6D0D98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0DAB926B-88D1-42A8-8C92-B12865A1D59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A38288AB-6ACF-49E1-BCC0-9A309BD3E1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7A2EA197-3DC0-4F0E-8C6F-7ACC0AE40D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4DC611ED-6E08-42F6-BBE3-0EF84F73D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329FA4C-F4FB-421D-879F-2124F3C78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6DF174-40D8-4ED9-8D16-83BF68253952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66236731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F94BA47F-21F7-47BC-B7F3-B8EB8E794CE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F94BA47F-21F7-47BC-B7F3-B8EB8E794CE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FCE55A03-6D19-4841-B9EF-2941631E99C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DAE9525B-3B4B-4B8A-A27E-DE0657BCCB1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BA3AB121-A0D7-4320-AF59-F115EAA6A8B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BFBF33AD-2C3D-471A-B753-FEA7A5EF7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FE63417B-B417-47C5-BF6E-714D1C915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DD2CE0E2-340A-4614-96C9-F6735BAB9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BD5330-5D36-4915-8197-1C897318787B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957000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F205DF4C-6228-42EC-AFCE-552BC7A9A88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F205DF4C-6228-42EC-AFCE-552BC7A9A88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A13296E6-CCDA-429C-B7ED-EF6B9A0C755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7348D7D3-CB29-4902-98AB-66AB01BAD16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F3E89E9C-5269-41BA-9F5C-8066AEB1CF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AC0EA047-25BB-4B58-B6D6-E98DB2931E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6A369F3B-ECD0-4FD0-8280-FE39EB583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BCB8FAF2-2F01-438A-9F19-3AF457EA8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C3AF62-A167-4EBF-8E1F-44A1EF71A81A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11447290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B153DBBE-9D52-4FC4-A9C9-43426BB9306A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B153DBBE-9D52-4FC4-A9C9-43426BB9306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6C905D7D-02B9-4090-A4B1-AB2D5F9A029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A02F3D65-D984-4306-8C6D-8A4887C64F4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964EBD29-272C-4786-B2E1-7D363F34AD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C25F63F-3810-47E0-B271-D3E40D8251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2761A82-375A-42D4-8143-4A5EB7D18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6C1537-5D78-4C38-BB88-CFA92B86C7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BCE01D-1263-42F7-B645-B5CB6948EB28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2353189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B8C680F8-4C01-4F72-A9C9-40DE174E63C5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B8C680F8-4C01-4F72-A9C9-40DE174E63C5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5DD8B679-945A-4A15-A94E-F1FDECE657C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5FC6172D-421F-4294-866F-47CEF222B44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31D9C683-83CC-4EAA-8E24-E7BA28B6289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DEBC801-628A-4CE1-9009-D8FEFC0B76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524B79-06A7-49EA-8970-C2DD12AAF6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C963752-B9BD-4FE7-B206-9CB8FB56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06C5B2-8BEC-40F7-AC02-601796415F2D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09169176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5E5683D2-B967-49E3-ADF9-BFE2472F2462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5E5683D2-B967-49E3-ADF9-BFE2472F2462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7E74785F-E7AB-4A7C-82CA-765F4A973353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3C7BA2CB-5B9A-48B8-9528-DD55BA0B9ED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06B7D16B-5BAE-4AC7-BFCA-C7456698135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101DF10B-4CB7-43F6-8E5C-8F851F1EAF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0692AA9-4FC9-4FC0-9D1D-B507059A8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AA14740-C17F-4A53-9F0A-B928C7ECA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261A59-ACD8-41B9-8D19-8A0815B6D5F7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16598500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7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8176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tIns="45720" bIns="45720"/>
          <a:lstStyle>
            <a:lvl1pPr algn="ctr"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F9781A23-19C1-5D93-8DEA-E93AFAE02A4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DDAE189-A17B-EFA6-761C-30F243C4E78C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978E929D-FDA2-427C-E48B-0DD44F0D1DB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5EF63DAB-820C-49B2-874E-68532633B82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1789668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9E5E51E0-1FE4-46AE-8497-B9A077C0EF8E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11266" name="Rectangle 11" hidden="1">
                        <a:extLst>
                          <a:ext uri="{FF2B5EF4-FFF2-40B4-BE49-F238E27FC236}">
                            <a16:creationId xmlns:a16="http://schemas.microsoft.com/office/drawing/2014/main" id="{7F2ADCC9-6DC7-4B0B-AD68-463D68283C8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F280FD3D-32D1-41D5-8530-2E232CB41DD5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76ED3E4B-6245-4F7C-B507-1803F5FC846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A0DF822C-EBF0-4640-824A-C23BA70AA6C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21C351FD-95E7-4EC6-AA00-0266E80966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138B2482-44CB-477C-83DE-B02DE9298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EF6A1847-F29A-4D58-940A-6B8DF1AD5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9D467E-B022-473B-B2B9-F224F04936D0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48786636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33AB2AFF-B033-E92C-A1BC-782F7D7D8EBC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33AB2AFF-B033-E92C-A1BC-782F7D7D8EB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19569CD3-013F-CC58-B2A6-3FE03850938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0BCAE445-9324-15E3-5FE1-F1821DEAD75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FEDC518E-8AE1-FE2D-51A4-195995663A5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D876380E-C239-8E00-6FD2-1CBE24E04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32C0F31-4CE0-3944-A52F-88B28CE6F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8BC8720-7101-0308-99AC-64B4D79769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710A33-0AD9-4D3E-B668-F25BBCEEF83E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41883920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76EEE88B-363B-4F56-0242-31C3F450D8CB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76EEE88B-363B-4F56-0242-31C3F450D8CB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CD0C7D01-C336-638B-09B1-481356D644A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0E845B54-9C05-6A57-778A-817A3C86703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8041CE4C-24BB-A4A0-52D7-CE6F96E3149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E6BCF3-D7A0-D12A-65CC-1826E5723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9B8B73F-D93C-190D-95C3-E850E2C43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523BA60-622B-5387-050E-1F259258C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043A34-C127-43FC-88AE-3B459E42BCE6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1841652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DA920F61-ABB7-5D91-8C4F-D2C57B6D92AC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DA920F61-ABB7-5D91-8C4F-D2C57B6D92A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EE7987D2-304E-8A8A-FAA6-A869218EE42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862B954F-82CC-7D5D-B3F6-117ECE96475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DF034FA1-9D48-138B-FE71-8E1E153DAA8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51E7B0D5-36F0-63CD-3FD8-B80D966426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4DD1BD54-D9BA-452B-099E-E74BA955C7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891FD6D2-E88E-1E3D-2994-D8B6ABC80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4FF12D-20A0-457A-B2BA-86C9662C4A54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189791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1" hidden="1">
            <a:extLst>
              <a:ext uri="{FF2B5EF4-FFF2-40B4-BE49-F238E27FC236}">
                <a16:creationId xmlns:a16="http://schemas.microsoft.com/office/drawing/2014/main" id="{07CF4CD7-1CC6-F515-5317-FBED511FC728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7" name="Rectangle 11" hidden="1">
                        <a:extLst>
                          <a:ext uri="{FF2B5EF4-FFF2-40B4-BE49-F238E27FC236}">
                            <a16:creationId xmlns:a16="http://schemas.microsoft.com/office/drawing/2014/main" id="{07CF4CD7-1CC6-F515-5317-FBED511FC72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 descr="abstract blue wave background">
            <a:extLst>
              <a:ext uri="{FF2B5EF4-FFF2-40B4-BE49-F238E27FC236}">
                <a16:creationId xmlns:a16="http://schemas.microsoft.com/office/drawing/2014/main" id="{D6694365-4491-1493-E7F7-05F5D375B3B2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519103DF-0A38-8892-E9EB-076156B9BDF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324FC76-B126-1983-4A0C-249D4074AA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11" name="Date Placeholder 6">
            <a:extLst>
              <a:ext uri="{FF2B5EF4-FFF2-40B4-BE49-F238E27FC236}">
                <a16:creationId xmlns:a16="http://schemas.microsoft.com/office/drawing/2014/main" id="{5A5B5C22-3B9D-EDCC-93A0-ADC80FD652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ECDCD877-360B-3DF2-14A8-594CBEFE6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BC06AA67-6E1A-B60C-4B3A-B9B51C9A2D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9E144FF-99F1-4CF2-AADC-403B57AC51C1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63858977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1" hidden="1">
            <a:extLst>
              <a:ext uri="{FF2B5EF4-FFF2-40B4-BE49-F238E27FC236}">
                <a16:creationId xmlns:a16="http://schemas.microsoft.com/office/drawing/2014/main" id="{18279B19-25A5-E432-72A1-7611CB68388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3" name="Rectangle 11" hidden="1">
                        <a:extLst>
                          <a:ext uri="{FF2B5EF4-FFF2-40B4-BE49-F238E27FC236}">
                            <a16:creationId xmlns:a16="http://schemas.microsoft.com/office/drawing/2014/main" id="{18279B19-25A5-E432-72A1-7611CB68388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2" descr="abstract blue wave background">
            <a:extLst>
              <a:ext uri="{FF2B5EF4-FFF2-40B4-BE49-F238E27FC236}">
                <a16:creationId xmlns:a16="http://schemas.microsoft.com/office/drawing/2014/main" id="{BB3F6EB0-3F08-B13C-73F6-9C1DE70EA6D0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7">
            <a:extLst>
              <a:ext uri="{FF2B5EF4-FFF2-40B4-BE49-F238E27FC236}">
                <a16:creationId xmlns:a16="http://schemas.microsoft.com/office/drawing/2014/main" id="{DDF86726-98EC-E295-2CFA-1DF0D7DFE5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08E47252-8861-0943-8C90-2A7440B80F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3364F77-5A1C-0A26-758B-80F295321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E791E0A-C1DF-6DBC-A057-D646A11C6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C8496EB-FCD3-A945-D343-68B1611820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C09454D-DB99-425D-AF53-0575CB03685E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5496393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1" hidden="1">
            <a:extLst>
              <a:ext uri="{FF2B5EF4-FFF2-40B4-BE49-F238E27FC236}">
                <a16:creationId xmlns:a16="http://schemas.microsoft.com/office/drawing/2014/main" id="{C80BF600-6FDC-C7E2-B990-1FF41230C013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Rectangle 11" hidden="1">
                        <a:extLst>
                          <a:ext uri="{FF2B5EF4-FFF2-40B4-BE49-F238E27FC236}">
                            <a16:creationId xmlns:a16="http://schemas.microsoft.com/office/drawing/2014/main" id="{C80BF600-6FDC-C7E2-B990-1FF41230C01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2" descr="abstract blue wave background">
            <a:extLst>
              <a:ext uri="{FF2B5EF4-FFF2-40B4-BE49-F238E27FC236}">
                <a16:creationId xmlns:a16="http://schemas.microsoft.com/office/drawing/2014/main" id="{8BB444D9-C85D-9430-8480-E362A754E87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7">
            <a:extLst>
              <a:ext uri="{FF2B5EF4-FFF2-40B4-BE49-F238E27FC236}">
                <a16:creationId xmlns:a16="http://schemas.microsoft.com/office/drawing/2014/main" id="{FA9A063C-30F1-3DA3-8640-0B5EB6BAF7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7F71125A-A9CF-5BC8-025B-1EF1FA34034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28C46AC0-AB25-881C-B1ED-9A2C765382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500615-99F5-C639-6E1B-C0D84237BE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6AC1C3C-6C81-B629-52EA-F141A484D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767711-3B7C-416B-B848-A68D9878852C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51893204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1364D047-68B9-7535-ABA6-EF70B69AD5FD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1364D047-68B9-7535-ABA6-EF70B69AD5F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9F8941EF-167C-F594-216E-3E7179F106A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A5F27044-21FC-FCB4-8345-E5DB2296B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BCBAC4BA-F059-D18F-83A6-97335A49D9A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9A613A1A-3063-668F-3692-6EE17A44C7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72C50BAB-A1F7-3461-690D-FC4593A136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0281CB6-612A-0646-9AF9-7955DA70E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683098-D7FC-4AC9-95DF-E098DB7C4E3F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6794171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1" hidden="1">
            <a:extLst>
              <a:ext uri="{FF2B5EF4-FFF2-40B4-BE49-F238E27FC236}">
                <a16:creationId xmlns:a16="http://schemas.microsoft.com/office/drawing/2014/main" id="{734ECBF7-71B8-81FE-6488-82C30AFBCDF8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5" name="Rectangle 11" hidden="1">
                        <a:extLst>
                          <a:ext uri="{FF2B5EF4-FFF2-40B4-BE49-F238E27FC236}">
                            <a16:creationId xmlns:a16="http://schemas.microsoft.com/office/drawing/2014/main" id="{734ECBF7-71B8-81FE-6488-82C30AFBCDF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2" descr="abstract blue wave background">
            <a:extLst>
              <a:ext uri="{FF2B5EF4-FFF2-40B4-BE49-F238E27FC236}">
                <a16:creationId xmlns:a16="http://schemas.microsoft.com/office/drawing/2014/main" id="{BC7B5CAE-16CD-0C54-2AB8-90BCEECF27D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>
              <a:ext uri="{FF2B5EF4-FFF2-40B4-BE49-F238E27FC236}">
                <a16:creationId xmlns:a16="http://schemas.microsoft.com/office/drawing/2014/main" id="{ADB1D7CC-0929-B1F1-5DB2-E515C139B44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D4C6EB4A-925F-B2F9-776C-DA89E879A85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r">
              <a:defRPr sz="2000" b="1"/>
            </a:lvl1pPr>
          </a:lstStyle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e-I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4">
            <a:extLst>
              <a:ext uri="{FF2B5EF4-FFF2-40B4-BE49-F238E27FC236}">
                <a16:creationId xmlns:a16="http://schemas.microsoft.com/office/drawing/2014/main" id="{DD710F59-C404-1B60-E516-90FF67D40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D08CAE8B-AF88-2195-56FE-00EFA9ADA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325ED69A-58B9-2493-3389-F383B5A7D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41DA4DF-0886-46B8-9706-A3EF25855BB5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70894568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4CD06FB2-3BCF-CA0E-493E-D09881485180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4CD06FB2-3BCF-CA0E-493E-D0988148518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571C6380-E867-7093-3440-6C6A41C6B6E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329F1F99-DE21-BB2A-6787-3A70ED716A7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94BDF167-6773-A0E5-6E2D-C0016C94B3A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7BDF34BB-ADBD-EF55-5E43-B08C7F8E2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BEAB659-699E-414F-8470-81BF818C8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DB6FA60-2728-0EFB-C8F1-E78A1AD16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48FBF6-47D3-4C06-8508-C79073FF2873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10193303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>
            <a:extLst>
              <a:ext uri="{FF2B5EF4-FFF2-40B4-BE49-F238E27FC236}">
                <a16:creationId xmlns:a16="http://schemas.microsoft.com/office/drawing/2014/main" id="{133B752E-E54F-AA5F-32B7-789B5122AA29}"/>
              </a:ext>
            </a:extLst>
          </p:cNvPr>
          <p:cNvGraphicFramePr>
            <a:graphicFrameLocks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4" name="Rectangle 11" hidden="1">
                        <a:extLst>
                          <a:ext uri="{FF2B5EF4-FFF2-40B4-BE49-F238E27FC236}">
                            <a16:creationId xmlns:a16="http://schemas.microsoft.com/office/drawing/2014/main" id="{133B752E-E54F-AA5F-32B7-789B5122AA2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 descr="abstract blue wave background">
            <a:extLst>
              <a:ext uri="{FF2B5EF4-FFF2-40B4-BE49-F238E27FC236}">
                <a16:creationId xmlns:a16="http://schemas.microsoft.com/office/drawing/2014/main" id="{FC709284-2A12-FC9F-5ACD-D6DDE01FCE2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0BC6E240-710B-E752-12F6-7477676D91D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C4F6A52E-AAF5-DAF9-5FD3-FAB11B35C3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e-I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e-IL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D737586-A2CF-9441-2BFE-57E92EA4D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EBEC8F2-D0C0-9C12-6D27-B8E43679A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FE6F649-383A-1B78-D1C4-919EDA800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17F46D-5BB9-4863-9480-29AE53D4500D}" type="slidenum">
              <a:rPr lang="he-IL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3216707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37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31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Relationship Id="rId22" Type="http://schemas.openxmlformats.org/officeDocument/2006/relationships/oleObject" Target="../embeddings/oleObject1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62.xml"/><Relationship Id="rId3" Type="http://schemas.openxmlformats.org/officeDocument/2006/relationships/slideLayout" Target="../slideLayouts/slideLayout28.xml"/><Relationship Id="rId21" Type="http://schemas.openxmlformats.org/officeDocument/2006/relationships/tags" Target="../tags/tag65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61.xml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23" Type="http://schemas.openxmlformats.org/officeDocument/2006/relationships/oleObject" Target="../embeddings/oleObject25.bin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4.xml"/><Relationship Id="rId18" Type="http://schemas.openxmlformats.org/officeDocument/2006/relationships/tags" Target="../tags/tag93.xml"/><Relationship Id="rId3" Type="http://schemas.openxmlformats.org/officeDocument/2006/relationships/slideLayout" Target="../slideLayouts/slideLayout42.xml"/><Relationship Id="rId21" Type="http://schemas.openxmlformats.org/officeDocument/2006/relationships/oleObject" Target="../embeddings/oleObject37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92.xml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90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9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89.xml"/><Relationship Id="rId22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5.xml"/><Relationship Id="rId18" Type="http://schemas.openxmlformats.org/officeDocument/2006/relationships/tags" Target="../tags/tag122.xml"/><Relationship Id="rId3" Type="http://schemas.openxmlformats.org/officeDocument/2006/relationships/slideLayout" Target="../slideLayouts/slideLayout54.xml"/><Relationship Id="rId21" Type="http://schemas.openxmlformats.org/officeDocument/2006/relationships/oleObject" Target="../embeddings/oleObject49.bin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tags" Target="../tags/tag121.xml"/><Relationship Id="rId2" Type="http://schemas.openxmlformats.org/officeDocument/2006/relationships/slideLayout" Target="../slideLayouts/slideLayout53.xml"/><Relationship Id="rId16" Type="http://schemas.openxmlformats.org/officeDocument/2006/relationships/tags" Target="../tags/tag120.xml"/><Relationship Id="rId20" Type="http://schemas.openxmlformats.org/officeDocument/2006/relationships/tags" Target="../tags/tag12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tags" Target="../tags/tag119.xml"/><Relationship Id="rId10" Type="http://schemas.openxmlformats.org/officeDocument/2006/relationships/slideLayout" Target="../slideLayouts/slideLayout61.xml"/><Relationship Id="rId19" Type="http://schemas.openxmlformats.org/officeDocument/2006/relationships/tags" Target="../tags/tag123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ags" Target="../tags/tag118.xml"/><Relationship Id="rId22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tags" Target="../tags/tag150.xml"/><Relationship Id="rId3" Type="http://schemas.openxmlformats.org/officeDocument/2006/relationships/slideLayout" Target="../slideLayouts/slideLayout66.xml"/><Relationship Id="rId21" Type="http://schemas.openxmlformats.org/officeDocument/2006/relationships/tags" Target="../tags/tag153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tags" Target="../tags/tag149.xml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148.xml"/><Relationship Id="rId20" Type="http://schemas.openxmlformats.org/officeDocument/2006/relationships/tags" Target="../tags/tag152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5" Type="http://schemas.openxmlformats.org/officeDocument/2006/relationships/tags" Target="../tags/tag147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73.xml"/><Relationship Id="rId19" Type="http://schemas.openxmlformats.org/officeDocument/2006/relationships/tags" Target="../tags/tag151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theme" Target="../theme/theme6.xml"/><Relationship Id="rId22" Type="http://schemas.openxmlformats.org/officeDocument/2006/relationships/oleObject" Target="../embeddings/oleObject6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7.xml"/><Relationship Id="rId18" Type="http://schemas.openxmlformats.org/officeDocument/2006/relationships/tags" Target="../tags/tag180.xml"/><Relationship Id="rId3" Type="http://schemas.openxmlformats.org/officeDocument/2006/relationships/slideLayout" Target="../slideLayouts/slideLayout79.xml"/><Relationship Id="rId21" Type="http://schemas.openxmlformats.org/officeDocument/2006/relationships/oleObject" Target="../embeddings/oleObject73.bin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tags" Target="../tags/tag179.xml"/><Relationship Id="rId2" Type="http://schemas.openxmlformats.org/officeDocument/2006/relationships/slideLayout" Target="../slideLayouts/slideLayout78.xml"/><Relationship Id="rId16" Type="http://schemas.openxmlformats.org/officeDocument/2006/relationships/tags" Target="../tags/tag178.xml"/><Relationship Id="rId20" Type="http://schemas.openxmlformats.org/officeDocument/2006/relationships/tags" Target="../tags/tag182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tags" Target="../tags/tag177.xml"/><Relationship Id="rId10" Type="http://schemas.openxmlformats.org/officeDocument/2006/relationships/slideLayout" Target="../slideLayouts/slideLayout86.xml"/><Relationship Id="rId19" Type="http://schemas.openxmlformats.org/officeDocument/2006/relationships/tags" Target="../tags/tag181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ags" Target="../tags/tag176.xml"/><Relationship Id="rId22" Type="http://schemas.openxmlformats.org/officeDocument/2006/relationships/image" Target="../media/image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8.xml"/><Relationship Id="rId18" Type="http://schemas.openxmlformats.org/officeDocument/2006/relationships/tags" Target="../tags/tag209.xml"/><Relationship Id="rId3" Type="http://schemas.openxmlformats.org/officeDocument/2006/relationships/slideLayout" Target="../slideLayouts/slideLayout91.xml"/><Relationship Id="rId21" Type="http://schemas.openxmlformats.org/officeDocument/2006/relationships/oleObject" Target="../embeddings/oleObject85.bin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tags" Target="../tags/tag208.xml"/><Relationship Id="rId2" Type="http://schemas.openxmlformats.org/officeDocument/2006/relationships/slideLayout" Target="../slideLayouts/slideLayout90.xml"/><Relationship Id="rId16" Type="http://schemas.openxmlformats.org/officeDocument/2006/relationships/tags" Target="../tags/tag207.xml"/><Relationship Id="rId20" Type="http://schemas.openxmlformats.org/officeDocument/2006/relationships/tags" Target="../tags/tag211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ags" Target="../tags/tag206.xml"/><Relationship Id="rId10" Type="http://schemas.openxmlformats.org/officeDocument/2006/relationships/slideLayout" Target="../slideLayouts/slideLayout98.xml"/><Relationship Id="rId19" Type="http://schemas.openxmlformats.org/officeDocument/2006/relationships/tags" Target="../tags/tag210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tags" Target="../tags/tag205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>
            <a:extLst>
              <a:ext uri="{FF2B5EF4-FFF2-40B4-BE49-F238E27FC236}">
                <a16:creationId xmlns:a16="http://schemas.microsoft.com/office/drawing/2014/main" id="{74E09C6D-F922-45FF-85E4-1E3CF97EC548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2" descr="abstract blue wave background">
            <a:extLst>
              <a:ext uri="{FF2B5EF4-FFF2-40B4-BE49-F238E27FC236}">
                <a16:creationId xmlns:a16="http://schemas.microsoft.com/office/drawing/2014/main" id="{CC63FF81-04C7-4A04-8F62-A95923AE9A67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9830592A-9927-4A49-8421-B29F8ADD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1D7E7953-6C8F-4AE6-97CA-70C25CEEAD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30" name="Rectangle 2">
            <a:extLst>
              <a:ext uri="{FF2B5EF4-FFF2-40B4-BE49-F238E27FC236}">
                <a16:creationId xmlns:a16="http://schemas.microsoft.com/office/drawing/2014/main" id="{2A0FF63C-2FBF-45C6-B4D2-91382942777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>
            <a:extLst>
              <a:ext uri="{FF2B5EF4-FFF2-40B4-BE49-F238E27FC236}">
                <a16:creationId xmlns:a16="http://schemas.microsoft.com/office/drawing/2014/main" id="{BD284C93-0225-40F3-9ED8-8DEFFA7331EC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C64C8D90-6D29-422F-973A-D81AB3479D62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C56C4C14-0494-4D38-B2CF-FBD2798AE0C2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FDB1412C-CB20-4249-9C6B-ED8E438F1341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DEA8A315-2F97-48A4-ACC5-6518BD79EE8E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34" r:id="rId1"/>
    <p:sldLayoutId id="2147484935" r:id="rId2"/>
    <p:sldLayoutId id="2147484936" r:id="rId3"/>
    <p:sldLayoutId id="2147484937" r:id="rId4"/>
    <p:sldLayoutId id="2147484938" r:id="rId5"/>
    <p:sldLayoutId id="2147484939" r:id="rId6"/>
    <p:sldLayoutId id="2147484940" r:id="rId7"/>
    <p:sldLayoutId id="2147484941" r:id="rId8"/>
    <p:sldLayoutId id="2147484942" r:id="rId9"/>
    <p:sldLayoutId id="2147484943" r:id="rId10"/>
    <p:sldLayoutId id="2147484944" r:id="rId11"/>
    <p:sldLayoutId id="2147484945" r:id="rId1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1" hidden="1">
            <a:extLst>
              <a:ext uri="{FF2B5EF4-FFF2-40B4-BE49-F238E27FC236}">
                <a16:creationId xmlns:a16="http://schemas.microsoft.com/office/drawing/2014/main" id="{E97A01AB-8701-4567-AAC6-9BB633C485ED}"/>
              </a:ext>
            </a:extLst>
          </p:cNvPr>
          <p:cNvGraphicFramePr>
            <a:graphicFrameLocks/>
          </p:cNvGraphicFramePr>
          <p:nvPr userDrawn="1">
            <p:custDataLst>
              <p:tags r:id="rId15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Rectangle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2" descr="abstract blue wave background">
            <a:extLst>
              <a:ext uri="{FF2B5EF4-FFF2-40B4-BE49-F238E27FC236}">
                <a16:creationId xmlns:a16="http://schemas.microsoft.com/office/drawing/2014/main" id="{67A10285-AC8F-4873-B62D-A50DCB1275F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722C38AF-634E-4471-B883-4260C06DFE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568EF151-C93F-4F96-B21E-209C630029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054" name="Rectangle 2">
            <a:extLst>
              <a:ext uri="{FF2B5EF4-FFF2-40B4-BE49-F238E27FC236}">
                <a16:creationId xmlns:a16="http://schemas.microsoft.com/office/drawing/2014/main" id="{281D5D4F-4042-4D92-B109-09558C740882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Rectangle 3">
            <a:extLst>
              <a:ext uri="{FF2B5EF4-FFF2-40B4-BE49-F238E27FC236}">
                <a16:creationId xmlns:a16="http://schemas.microsoft.com/office/drawing/2014/main" id="{5DB2F95D-55DC-46CA-8242-5A87075CAF61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21236E69-9C91-4575-97E3-26B8D3F15B8B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302244C2-DA4B-485A-9F5A-93FAE00ACA76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8EB2E618-DA74-4CE0-A693-554CCC9103A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0343B572-2752-4236-978E-FFDD5324272F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46" r:id="rId1"/>
    <p:sldLayoutId id="2147484947" r:id="rId2"/>
    <p:sldLayoutId id="2147484948" r:id="rId3"/>
    <p:sldLayoutId id="2147484949" r:id="rId4"/>
    <p:sldLayoutId id="2147484950" r:id="rId5"/>
    <p:sldLayoutId id="2147484951" r:id="rId6"/>
    <p:sldLayoutId id="2147484952" r:id="rId7"/>
    <p:sldLayoutId id="2147484953" r:id="rId8"/>
    <p:sldLayoutId id="2147484954" r:id="rId9"/>
    <p:sldLayoutId id="2147484955" r:id="rId10"/>
    <p:sldLayoutId id="2147484956" r:id="rId11"/>
    <p:sldLayoutId id="2147484957" r:id="rId12"/>
    <p:sldLayoutId id="2147485082" r:id="rId13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1" hidden="1">
            <a:extLst>
              <a:ext uri="{FF2B5EF4-FFF2-40B4-BE49-F238E27FC236}">
                <a16:creationId xmlns:a16="http://schemas.microsoft.com/office/drawing/2014/main" id="{C35E3387-ED5B-40FD-BABA-7E806D76FAC8}"/>
              </a:ext>
            </a:extLst>
          </p:cNvPr>
          <p:cNvGraphicFramePr>
            <a:graphicFrameLocks/>
          </p:cNvGraphicFramePr>
          <p:nvPr userDrawn="1">
            <p:custDataLst>
              <p:tags r:id="rId16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2050" name="Rectangle 11" hidden="1">
                        <a:extLst>
                          <a:ext uri="{FF2B5EF4-FFF2-40B4-BE49-F238E27FC236}">
                            <a16:creationId xmlns:a16="http://schemas.microsoft.com/office/drawing/2014/main" id="{C35E3387-ED5B-40FD-BABA-7E806D76FAC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2" descr="abstract blue wave background">
            <a:extLst>
              <a:ext uri="{FF2B5EF4-FFF2-40B4-BE49-F238E27FC236}">
                <a16:creationId xmlns:a16="http://schemas.microsoft.com/office/drawing/2014/main" id="{A0F7DF33-68E8-4478-8BB5-E05F9A5A602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722C38AF-634E-4471-B883-4260C06DFE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568EF151-C93F-4F96-B21E-209C630029B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054" name="Rectangle 2">
            <a:extLst>
              <a:ext uri="{FF2B5EF4-FFF2-40B4-BE49-F238E27FC236}">
                <a16:creationId xmlns:a16="http://schemas.microsoft.com/office/drawing/2014/main" id="{9824044A-9E35-493E-AC7B-CF2198DA4B0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Rectangle 3">
            <a:extLst>
              <a:ext uri="{FF2B5EF4-FFF2-40B4-BE49-F238E27FC236}">
                <a16:creationId xmlns:a16="http://schemas.microsoft.com/office/drawing/2014/main" id="{667AE103-BF23-45F9-A218-88E72268E398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21236E69-9C91-4575-97E3-26B8D3F15B8B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20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302244C2-DA4B-485A-9F5A-93FAE00ACA76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1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8EB2E618-DA74-4CE0-A693-554CCC9103A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6737496D-72C7-4557-87BD-6FA6F53736BE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7916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1" r:id="rId1"/>
    <p:sldLayoutId id="2147484962" r:id="rId2"/>
    <p:sldLayoutId id="2147484963" r:id="rId3"/>
    <p:sldLayoutId id="2147484964" r:id="rId4"/>
    <p:sldLayoutId id="2147484965" r:id="rId5"/>
    <p:sldLayoutId id="2147484966" r:id="rId6"/>
    <p:sldLayoutId id="2147484967" r:id="rId7"/>
    <p:sldLayoutId id="2147484968" r:id="rId8"/>
    <p:sldLayoutId id="2147484969" r:id="rId9"/>
    <p:sldLayoutId id="2147484970" r:id="rId10"/>
    <p:sldLayoutId id="2147484971" r:id="rId11"/>
    <p:sldLayoutId id="2147484972" r:id="rId12"/>
    <p:sldLayoutId id="2147484973" r:id="rId13"/>
    <p:sldLayoutId id="2147484974" r:id="rId14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11" hidden="1">
            <a:extLst>
              <a:ext uri="{FF2B5EF4-FFF2-40B4-BE49-F238E27FC236}">
                <a16:creationId xmlns:a16="http://schemas.microsoft.com/office/drawing/2014/main" id="{D34E54B7-2555-4CD5-9EAB-E523B85536FE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2050" name="Rectangle 11" hidden="1">
                        <a:extLst>
                          <a:ext uri="{FF2B5EF4-FFF2-40B4-BE49-F238E27FC236}">
                            <a16:creationId xmlns:a16="http://schemas.microsoft.com/office/drawing/2014/main" id="{D34E54B7-2555-4CD5-9EAB-E523B85536F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12" descr="abstract blue wave background">
            <a:extLst>
              <a:ext uri="{FF2B5EF4-FFF2-40B4-BE49-F238E27FC236}">
                <a16:creationId xmlns:a16="http://schemas.microsoft.com/office/drawing/2014/main" id="{07C7124B-6353-4CFC-873C-2C8643DE30D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D414C212-B2DF-4762-A8C9-18024357C5E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36B2E182-148E-4CDD-908A-5A22EE81EF6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2054" name="Rectangle 2">
            <a:extLst>
              <a:ext uri="{FF2B5EF4-FFF2-40B4-BE49-F238E27FC236}">
                <a16:creationId xmlns:a16="http://schemas.microsoft.com/office/drawing/2014/main" id="{A96AC02B-B996-4E21-85A1-A684B9120D5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Rectangle 3">
            <a:extLst>
              <a:ext uri="{FF2B5EF4-FFF2-40B4-BE49-F238E27FC236}">
                <a16:creationId xmlns:a16="http://schemas.microsoft.com/office/drawing/2014/main" id="{B853F736-9769-40C7-94F5-DAD32757CAFD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759CC41A-7519-4F7B-B66C-49509B9214B4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9D600000-90A4-4D99-BD0A-88B01AB3682C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7D37E7DE-4686-45AE-95CF-FD65B859133F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4DA6E4EC-C6DF-484E-83C3-B0FAC913FE3C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7720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9" r:id="rId1"/>
    <p:sldLayoutId id="2147484990" r:id="rId2"/>
    <p:sldLayoutId id="2147484991" r:id="rId3"/>
    <p:sldLayoutId id="2147484992" r:id="rId4"/>
    <p:sldLayoutId id="2147484993" r:id="rId5"/>
    <p:sldLayoutId id="2147484994" r:id="rId6"/>
    <p:sldLayoutId id="2147484995" r:id="rId7"/>
    <p:sldLayoutId id="2147484996" r:id="rId8"/>
    <p:sldLayoutId id="2147484997" r:id="rId9"/>
    <p:sldLayoutId id="2147484998" r:id="rId10"/>
    <p:sldLayoutId id="2147484999" r:id="rId11"/>
    <p:sldLayoutId id="2147485000" r:id="rId1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>
            <a:extLst>
              <a:ext uri="{FF2B5EF4-FFF2-40B4-BE49-F238E27FC236}">
                <a16:creationId xmlns:a16="http://schemas.microsoft.com/office/drawing/2014/main" id="{1118B210-5552-4C94-913A-A2FB30CCAC7E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1026" name="Rectangle 11" hidden="1">
                        <a:extLst>
                          <a:ext uri="{FF2B5EF4-FFF2-40B4-BE49-F238E27FC236}">
                            <a16:creationId xmlns:a16="http://schemas.microsoft.com/office/drawing/2014/main" id="{1118B210-5552-4C94-913A-A2FB30CCAC7E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2" descr="abstract blue wave background">
            <a:extLst>
              <a:ext uri="{FF2B5EF4-FFF2-40B4-BE49-F238E27FC236}">
                <a16:creationId xmlns:a16="http://schemas.microsoft.com/office/drawing/2014/main" id="{E3C6CA1C-9E91-4EFC-8A20-FC10823637DD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E98D3712-816B-4968-A0C4-A21DE99821A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1C487FEF-B04E-4AE1-94EE-D2333D00A7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30" name="Rectangle 2">
            <a:extLst>
              <a:ext uri="{FF2B5EF4-FFF2-40B4-BE49-F238E27FC236}">
                <a16:creationId xmlns:a16="http://schemas.microsoft.com/office/drawing/2014/main" id="{F69230B1-5196-4B76-B9C0-998358A4D1BE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>
            <a:extLst>
              <a:ext uri="{FF2B5EF4-FFF2-40B4-BE49-F238E27FC236}">
                <a16:creationId xmlns:a16="http://schemas.microsoft.com/office/drawing/2014/main" id="{C18DC011-4CBC-4611-BA6F-F100FDC17EC7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2F6AB182-8660-43CD-A985-4728E7062BEA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64632C5B-7816-483A-A8CE-066088E73EB5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1DCAAA27-2D45-4D62-8EF2-842470C7C10B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A435F888-0D34-4422-8438-BD4967ADE311}" type="slidenum">
              <a:rPr lang="he-IL" altLang="en-US"/>
              <a:pPr>
                <a:defRPr/>
              </a:pPr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9222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  <p:sldLayoutId id="2147485034" r:id="rId5"/>
    <p:sldLayoutId id="2147485035" r:id="rId6"/>
    <p:sldLayoutId id="2147485036" r:id="rId7"/>
    <p:sldLayoutId id="2147485037" r:id="rId8"/>
    <p:sldLayoutId id="2147485038" r:id="rId9"/>
    <p:sldLayoutId id="2147485039" r:id="rId10"/>
    <p:sldLayoutId id="2147485040" r:id="rId11"/>
    <p:sldLayoutId id="2147485041" r:id="rId1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>
            <a:extLst>
              <a:ext uri="{FF2B5EF4-FFF2-40B4-BE49-F238E27FC236}">
                <a16:creationId xmlns:a16="http://schemas.microsoft.com/office/drawing/2014/main" id="{095532AA-62F1-4CDE-8419-B7A8A1E239F0}"/>
              </a:ext>
            </a:extLst>
          </p:cNvPr>
          <p:cNvGraphicFramePr>
            <a:graphicFrameLocks/>
          </p:cNvGraphicFramePr>
          <p:nvPr userDrawn="1">
            <p:custDataLst>
              <p:tags r:id="rId15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1026" name="Rectangle 11" hidden="1">
                        <a:extLst>
                          <a:ext uri="{FF2B5EF4-FFF2-40B4-BE49-F238E27FC236}">
                            <a16:creationId xmlns:a16="http://schemas.microsoft.com/office/drawing/2014/main" id="{095532AA-62F1-4CDE-8419-B7A8A1E239F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2" descr="abstract blue wave background">
            <a:extLst>
              <a:ext uri="{FF2B5EF4-FFF2-40B4-BE49-F238E27FC236}">
                <a16:creationId xmlns:a16="http://schemas.microsoft.com/office/drawing/2014/main" id="{A43E849B-68E3-49AD-A85D-44CD1D41199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9830592A-9927-4A49-8421-B29F8ADD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1D7E7953-6C8F-4AE6-97CA-70C25CEEAD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30" name="Rectangle 2">
            <a:extLst>
              <a:ext uri="{FF2B5EF4-FFF2-40B4-BE49-F238E27FC236}">
                <a16:creationId xmlns:a16="http://schemas.microsoft.com/office/drawing/2014/main" id="{4722ECB0-B9A7-4F6D-9854-2B845903766E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>
            <a:extLst>
              <a:ext uri="{FF2B5EF4-FFF2-40B4-BE49-F238E27FC236}">
                <a16:creationId xmlns:a16="http://schemas.microsoft.com/office/drawing/2014/main" id="{2E2344FF-8C70-4097-914F-456F1531BDF8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C64C8D90-6D29-422F-973A-D81AB3479D62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C56C4C14-0494-4D38-B2CF-FBD2798AE0C2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FDB1412C-CB20-4249-9C6B-ED8E438F1341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D19FBEF4-88BB-4B98-8F2F-A9CE34278672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697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>
            <a:extLst>
              <a:ext uri="{FF2B5EF4-FFF2-40B4-BE49-F238E27FC236}">
                <a16:creationId xmlns:a16="http://schemas.microsoft.com/office/drawing/2014/main" id="{9AB0D7CA-8132-42B0-8B2B-9E1D167BB61A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1026" name="Rectangle 11" hidden="1">
                        <a:extLst>
                          <a:ext uri="{FF2B5EF4-FFF2-40B4-BE49-F238E27FC236}">
                            <a16:creationId xmlns:a16="http://schemas.microsoft.com/office/drawing/2014/main" id="{9AB0D7CA-8132-42B0-8B2B-9E1D167BB61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2" descr="abstract blue wave background">
            <a:extLst>
              <a:ext uri="{FF2B5EF4-FFF2-40B4-BE49-F238E27FC236}">
                <a16:creationId xmlns:a16="http://schemas.microsoft.com/office/drawing/2014/main" id="{81A2250A-C8FF-48CC-B1E4-C036421C7AFC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CB18F175-9A68-4615-BBC4-2148C030E1A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0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C66C8319-8A04-47F8-B5B5-5933E06CA9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2768"/>
            <a:ext cx="12192000" cy="46166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endParaRPr lang="he-IL" altLang="en-US" sz="2400"/>
          </a:p>
        </p:txBody>
      </p:sp>
      <p:sp>
        <p:nvSpPr>
          <p:cNvPr id="1030" name="Rectangle 2">
            <a:extLst>
              <a:ext uri="{FF2B5EF4-FFF2-40B4-BE49-F238E27FC236}">
                <a16:creationId xmlns:a16="http://schemas.microsoft.com/office/drawing/2014/main" id="{8A123C56-6EFF-484B-9FC3-71C79D3A4B2A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>
            <a:extLst>
              <a:ext uri="{FF2B5EF4-FFF2-40B4-BE49-F238E27FC236}">
                <a16:creationId xmlns:a16="http://schemas.microsoft.com/office/drawing/2014/main" id="{4391759D-05CF-4341-9A59-4C19ED943D5B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088365D0-1D5A-4B59-BFE9-AEF83C1B9331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0BBC8608-F85C-4C67-96FD-DC78108231AD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5231D947-CDE5-446D-971E-61D6D6E13499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AF220287-0C15-43DD-B4B6-3F11EE006EBD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4233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1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1" hidden="1">
            <a:extLst>
              <a:ext uri="{FF2B5EF4-FFF2-40B4-BE49-F238E27FC236}">
                <a16:creationId xmlns:a16="http://schemas.microsoft.com/office/drawing/2014/main" id="{B9FDB1E6-143C-F417-72F5-286694BF2EE0}"/>
              </a:ext>
            </a:extLst>
          </p:cNvPr>
          <p:cNvGraphicFramePr>
            <a:graphicFrameLocks/>
          </p:cNvGraphicFramePr>
          <p:nvPr userDrawn="1">
            <p:custDataLst>
              <p:tags r:id="rId14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1026" name="Rectangle 11" hidden="1">
                        <a:extLst>
                          <a:ext uri="{FF2B5EF4-FFF2-40B4-BE49-F238E27FC236}">
                            <a16:creationId xmlns:a16="http://schemas.microsoft.com/office/drawing/2014/main" id="{B9FDB1E6-143C-F417-72F5-286694BF2EE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12" descr="abstract blue wave background">
            <a:extLst>
              <a:ext uri="{FF2B5EF4-FFF2-40B4-BE49-F238E27FC236}">
                <a16:creationId xmlns:a16="http://schemas.microsoft.com/office/drawing/2014/main" id="{00C52205-92F1-13A8-8C9A-E5C60246B7F6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915" b="444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7">
            <a:extLst>
              <a:ext uri="{FF2B5EF4-FFF2-40B4-BE49-F238E27FC236}">
                <a16:creationId xmlns:a16="http://schemas.microsoft.com/office/drawing/2014/main" id="{9830592A-9927-4A49-8421-B29F8ADDDE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747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29" name="Rectangle 9">
            <a:extLst>
              <a:ext uri="{FF2B5EF4-FFF2-40B4-BE49-F238E27FC236}">
                <a16:creationId xmlns:a16="http://schemas.microsoft.com/office/drawing/2014/main" id="{1D7E7953-6C8F-4AE6-97CA-70C25CEEAD5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173413"/>
            <a:ext cx="12192000" cy="460375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sq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endParaRPr lang="he-IL" altLang="en-US"/>
          </a:p>
        </p:txBody>
      </p:sp>
      <p:sp>
        <p:nvSpPr>
          <p:cNvPr id="1030" name="Rectangle 2">
            <a:extLst>
              <a:ext uri="{FF2B5EF4-FFF2-40B4-BE49-F238E27FC236}">
                <a16:creationId xmlns:a16="http://schemas.microsoft.com/office/drawing/2014/main" id="{72D3581B-0ED5-9C42-9474-A4445D382DD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1" name="Rectangle 3">
            <a:extLst>
              <a:ext uri="{FF2B5EF4-FFF2-40B4-BE49-F238E27FC236}">
                <a16:creationId xmlns:a16="http://schemas.microsoft.com/office/drawing/2014/main" id="{E1D2FACA-58F1-B8BE-D314-2542828DB4A5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16580" name="Rectangle 4">
            <a:extLst>
              <a:ext uri="{FF2B5EF4-FFF2-40B4-BE49-F238E27FC236}">
                <a16:creationId xmlns:a16="http://schemas.microsoft.com/office/drawing/2014/main" id="{C64C8D90-6D29-422F-973A-D81AB3479D62}"/>
              </a:ext>
            </a:extLst>
          </p:cNvPr>
          <p:cNvSpPr>
            <a:spLocks noGrp="1" noChangeArrowheads="1"/>
          </p:cNvSpPr>
          <p:nvPr>
            <p:ph type="dt" sz="half" idx="2"/>
            <p:custDataLst>
              <p:tags r:id="rId18"/>
            </p:custDataLst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1" name="Rectangle 5">
            <a:extLst>
              <a:ext uri="{FF2B5EF4-FFF2-40B4-BE49-F238E27FC236}">
                <a16:creationId xmlns:a16="http://schemas.microsoft.com/office/drawing/2014/main" id="{C56C4C14-0494-4D38-B2CF-FBD2798AE0C2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9"/>
            </p:custDataLst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16582" name="Rectangle 6">
            <a:extLst>
              <a:ext uri="{FF2B5EF4-FFF2-40B4-BE49-F238E27FC236}">
                <a16:creationId xmlns:a16="http://schemas.microsoft.com/office/drawing/2014/main" id="{FDB1412C-CB20-4249-9C6B-ED8E438F1341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Times New Roman" panose="02020603050405020304" pitchFamily="18" charset="0"/>
              </a:defRPr>
            </a:lvl1pPr>
          </a:lstStyle>
          <a:p>
            <a:fld id="{D981D447-21FC-446F-957E-DF975FF56D47}" type="slidenum">
              <a:rPr lang="he-IL" altLang="en-US"/>
              <a:pPr/>
              <a:t>‹#›</a:t>
            </a:fld>
            <a:endParaRPr lang="en-US" alt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4328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0" r:id="rId1"/>
    <p:sldLayoutId id="2147485071" r:id="rId2"/>
    <p:sldLayoutId id="2147485072" r:id="rId3"/>
    <p:sldLayoutId id="2147485073" r:id="rId4"/>
    <p:sldLayoutId id="2147485074" r:id="rId5"/>
    <p:sldLayoutId id="2147485075" r:id="rId6"/>
    <p:sldLayoutId id="2147485076" r:id="rId7"/>
    <p:sldLayoutId id="2147485077" r:id="rId8"/>
    <p:sldLayoutId id="2147485078" r:id="rId9"/>
    <p:sldLayoutId id="2147485079" r:id="rId10"/>
    <p:sldLayoutId id="2147485080" r:id="rId11"/>
    <p:sldLayoutId id="2147485081" r:id="rId12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defRPr sz="2400">
          <a:solidFill>
            <a:schemeClr val="folHlink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▪"/>
        <a:defRPr sz="2400">
          <a:solidFill>
            <a:schemeClr val="folHlink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–"/>
        <a:defRPr sz="2400">
          <a:solidFill>
            <a:schemeClr val="folHlink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▫"/>
        <a:defRPr sz="2400">
          <a:solidFill>
            <a:schemeClr val="folHlink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-"/>
        <a:defRPr sz="2400">
          <a:solidFill>
            <a:schemeClr val="folHlink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folHlink"/>
        </a:buClr>
        <a:buFont typeface="Arial" pitchFamily="34" charset="0"/>
        <a:buChar char="-"/>
        <a:defRPr sz="2400">
          <a:solidFill>
            <a:schemeClr val="folHlink"/>
          </a:solidFill>
          <a:latin typeface="+mn-lt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4.xml"/><Relationship Id="rId7" Type="http://schemas.openxmlformats.org/officeDocument/2006/relationships/hyperlink" Target="http://www.talbenshahar.com/" TargetMode="Externa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7.xml"/><Relationship Id="rId5" Type="http://schemas.openxmlformats.org/officeDocument/2006/relationships/image" Target="../media/image12.jpeg"/><Relationship Id="rId4" Type="http://schemas.openxmlformats.org/officeDocument/2006/relationships/hyperlink" Target="http://www.airtoons.com/toons.php?toon=23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7" name="Rectangle 13" hidden="1">
            <a:extLst>
              <a:ext uri="{FF2B5EF4-FFF2-40B4-BE49-F238E27FC236}">
                <a16:creationId xmlns:a16="http://schemas.microsoft.com/office/drawing/2014/main" id="{86B1F822-BB4A-4749-8EB0-90686480BEE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1747" name="Rectangle 13" hidden="1">
                        <a:extLst>
                          <a:ext uri="{FF2B5EF4-FFF2-40B4-BE49-F238E27FC236}">
                            <a16:creationId xmlns:a16="http://schemas.microsoft.com/office/drawing/2014/main" id="{86B1F822-BB4A-4749-8EB0-90686480BEE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1" descr="happiness">
            <a:extLst>
              <a:ext uri="{FF2B5EF4-FFF2-40B4-BE49-F238E27FC236}">
                <a16:creationId xmlns:a16="http://schemas.microsoft.com/office/drawing/2014/main" id="{8ED84FEF-4398-46F8-82DF-D70BC538F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2" t="2644" r="13715" b="26447"/>
          <a:stretch>
            <a:fillRect/>
          </a:stretch>
        </p:blipFill>
        <p:spPr bwMode="auto">
          <a:xfrm>
            <a:off x="6930189" y="965362"/>
            <a:ext cx="5025592" cy="5159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F85BC90E-CB11-4497-AFB8-B4B27207D86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22860" y="-131127"/>
            <a:ext cx="12192000" cy="86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30196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defRPr sz="2400">
                <a:solidFill>
                  <a:schemeClr val="folHlink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▪"/>
              <a:defRPr sz="2400">
                <a:solidFill>
                  <a:schemeClr val="folHlink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–"/>
              <a:defRPr sz="2400">
                <a:solidFill>
                  <a:schemeClr val="folHlink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▫"/>
              <a:defRPr sz="2400">
                <a:solidFill>
                  <a:schemeClr val="folHlink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itchFamily="34" charset="0"/>
              <a:buChar char="-"/>
              <a:defRPr sz="2400">
                <a:solidFill>
                  <a:schemeClr val="folHlink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itchFamily="34" charset="0"/>
              <a:buChar char="-"/>
              <a:defRPr sz="2400">
                <a:solidFill>
                  <a:schemeClr val="folHlink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itchFamily="34" charset="0"/>
              <a:buChar char="-"/>
              <a:defRPr sz="2400">
                <a:solidFill>
                  <a:schemeClr val="folHlink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itchFamily="34" charset="0"/>
              <a:buChar char="-"/>
              <a:defRPr sz="2400">
                <a:solidFill>
                  <a:schemeClr val="folHlink"/>
                </a:solidFill>
                <a:latin typeface="+mn-lt"/>
              </a:defRPr>
            </a:lvl9pPr>
          </a:lstStyle>
          <a:p>
            <a:pPr marL="0" indent="0" algn="ctr" eaLnBrk="1" hangingPunct="1">
              <a:defRPr/>
            </a:pPr>
            <a:r>
              <a:rPr lang="en-US" altLang="en-US" sz="5400" b="1" kern="0" dirty="0">
                <a:solidFill>
                  <a:schemeClr val="accent1">
                    <a:lumMod val="25000"/>
                  </a:schemeClr>
                </a:solidFill>
              </a:rPr>
              <a:t>The Science of Happiness</a:t>
            </a: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55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37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endParaRPr lang="en-US" altLang="en-US" sz="4400" b="1" kern="0" dirty="0">
              <a:solidFill>
                <a:schemeClr val="accent1">
                  <a:lumMod val="25000"/>
                </a:schemeClr>
              </a:solidFill>
            </a:endParaRPr>
          </a:p>
          <a:p>
            <a:pPr marL="0" indent="0" algn="ctr" eaLnBrk="1" hangingPunct="1">
              <a:defRPr/>
            </a:pPr>
            <a:r>
              <a:rPr lang="en-US" altLang="en-US" sz="3200" kern="0" dirty="0">
                <a:solidFill>
                  <a:schemeClr val="accent1">
                    <a:lumMod val="25000"/>
                  </a:schemeClr>
                </a:solidFill>
                <a:hlinkClick r:id="rId7"/>
              </a:rPr>
              <a:t>www.talbenshahar.com</a:t>
            </a:r>
            <a:r>
              <a:rPr lang="en-US" altLang="en-US" sz="3200" kern="0" dirty="0">
                <a:solidFill>
                  <a:schemeClr val="accent1">
                    <a:lumMod val="25000"/>
                  </a:schemeClr>
                </a:solidFill>
              </a:rPr>
              <a:t>   </a:t>
            </a:r>
          </a:p>
        </p:txBody>
      </p:sp>
      <p:pic>
        <p:nvPicPr>
          <p:cNvPr id="6" name="Picture 5" descr="A picture containing text, font, graphics, logo&#10;&#10;Description automatically generated">
            <a:extLst>
              <a:ext uri="{FF2B5EF4-FFF2-40B4-BE49-F238E27FC236}">
                <a16:creationId xmlns:a16="http://schemas.microsoft.com/office/drawing/2014/main" id="{5D89A9DA-720B-CC99-E7AF-D689C5B4F62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19" y="5394838"/>
            <a:ext cx="2827615" cy="1463161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itle 1">
            <a:extLst>
              <a:ext uri="{FF2B5EF4-FFF2-40B4-BE49-F238E27FC236}">
                <a16:creationId xmlns:a16="http://schemas.microsoft.com/office/drawing/2014/main" id="{4F0159D0-34FC-491B-85D1-2CB0DB80ADC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-377825" y="242888"/>
            <a:ext cx="11024391" cy="668337"/>
          </a:xfrm>
        </p:spPr>
        <p:txBody>
          <a:bodyPr/>
          <a:lstStyle/>
          <a:p>
            <a:r>
              <a:rPr lang="en-US" altLang="en-US" sz="4800" dirty="0">
                <a:latin typeface="Arial" panose="020B0604020202020204" pitchFamily="34" charset="0"/>
                <a:cs typeface="Arial" panose="020B0604020202020204" pitchFamily="34" charset="0"/>
              </a:rPr>
              <a:t>PERMISSION TO BE HUMAN</a:t>
            </a:r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F511D0BD-1D44-4A1C-A80D-117C3B1B3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188" y="1298575"/>
            <a:ext cx="11279822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71550" indent="-514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971550" marR="0" lvl="2" indent="-51435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paradox</a:t>
            </a:r>
            <a:endParaRPr kumimoji="0" lang="en-US" altLang="en-US" sz="32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marR="0" lvl="2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E9764B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Those who don’t know how to weep with their whole heart don’t know how to laugh either.” 										Golda Meir</a:t>
            </a:r>
          </a:p>
          <a:p>
            <a:pPr marL="457200" marR="0" lvl="2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0000">
                  <a:lumMod val="50000"/>
                  <a:lumOff val="50000"/>
                </a:srgbClr>
              </a:buClr>
              <a:buSzTx/>
              <a:buFontTx/>
              <a:buNone/>
              <a:tabLst/>
              <a:defRPr/>
            </a:pP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971550" marR="0" lvl="2" indent="-5143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t about resignation</a:t>
            </a:r>
          </a:p>
          <a:p>
            <a:pPr marL="971550" marR="0" lvl="2" indent="-5143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tive acceptance</a:t>
            </a:r>
          </a:p>
        </p:txBody>
      </p:sp>
    </p:spTree>
    <p:extLst>
      <p:ext uri="{BB962C8B-B14F-4D97-AF65-F5344CB8AC3E}">
        <p14:creationId xmlns:p14="http://schemas.microsoft.com/office/powerpoint/2010/main" val="33079864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 bldLvl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BDFA663-0E89-493E-A364-D936598243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85FA527-2E8E-43E9-9757-A99915CD87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800" y="49213"/>
            <a:ext cx="677164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5200" b="1" i="0" u="none" strike="noStrike" kern="1200" cap="none" spc="0" normalizeH="0" baseline="0" noProof="0" dirty="0">
                <a:ln>
                  <a:noFill/>
                </a:ln>
                <a:solidFill>
                  <a:srgbClr val="C7E0FB">
                    <a:lumMod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ESS PANDEMIC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8">
            <a:extLst>
              <a:ext uri="{FF2B5EF4-FFF2-40B4-BE49-F238E27FC236}">
                <a16:creationId xmlns:a16="http://schemas.microsoft.com/office/drawing/2014/main" id="{00529103-3933-41B8-963F-DB20C1F47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149" b="3783"/>
          <a:stretch>
            <a:fillRect/>
          </a:stretch>
        </p:blipFill>
        <p:spPr bwMode="auto">
          <a:xfrm>
            <a:off x="0" y="0"/>
            <a:ext cx="121808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>
            <a:extLst>
              <a:ext uri="{FF2B5EF4-FFF2-40B4-BE49-F238E27FC236}">
                <a16:creationId xmlns:a16="http://schemas.microsoft.com/office/drawing/2014/main" id="{E620A865-1718-49D9-BFB8-48344679F4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6725" y="341313"/>
            <a:ext cx="12403138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2" tIns="60956" rIns="121912" bIns="60956" anchor="ctr"/>
          <a:lstStyle>
            <a:lvl1pPr defTabSz="60642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60642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60642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60642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606425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6064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6064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6064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6064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6064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Stress is not the problem… 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BCDF5B1-A729-4164-9C76-2B9C86C1F2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21050" y="1981200"/>
            <a:ext cx="6381750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121912" tIns="60956" rIns="121912" bIns="60956"/>
          <a:lstStyle/>
          <a:p>
            <a:pPr marL="0" marR="0" lvl="0" indent="0" algn="l" defTabSz="609539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2960">
                    <a:lumMod val="90000"/>
                    <a:lumOff val="1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+mn-ea"/>
                <a:cs typeface="Arial" panose="020B0604020202020204" pitchFamily="34" charset="0"/>
              </a:rPr>
              <a:t>Energise with multi-level recovery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E26233D-FD46-46FE-B228-556D5ED0A76F}"/>
              </a:ext>
            </a:extLst>
          </p:cNvPr>
          <p:cNvGrpSpPr>
            <a:grpSpLocks/>
          </p:cNvGrpSpPr>
          <p:nvPr/>
        </p:nvGrpSpPr>
        <p:grpSpPr bwMode="auto">
          <a:xfrm>
            <a:off x="427038" y="2570163"/>
            <a:ext cx="3708400" cy="3767137"/>
            <a:chOff x="320340" y="1927056"/>
            <a:chExt cx="2780926" cy="2825869"/>
          </a:xfrm>
        </p:grpSpPr>
        <p:pic>
          <p:nvPicPr>
            <p:cNvPr id="80910" name="Picture 4">
              <a:extLst>
                <a:ext uri="{FF2B5EF4-FFF2-40B4-BE49-F238E27FC236}">
                  <a16:creationId xmlns:a16="http://schemas.microsoft.com/office/drawing/2014/main" id="{3577E7ED-89AB-46C2-A8BF-81C240A1D2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6533" y="2361227"/>
              <a:ext cx="2505173" cy="23916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A817A51C-D00B-4394-94EE-3CE567A5A16A}"/>
                </a:ext>
              </a:extLst>
            </p:cNvPr>
            <p:cNvSpPr/>
            <p:nvPr/>
          </p:nvSpPr>
          <p:spPr>
            <a:xfrm>
              <a:off x="323911" y="1927056"/>
              <a:ext cx="2777355" cy="514444"/>
            </a:xfrm>
            <a:prstGeom prst="roundRect">
              <a:avLst>
                <a:gd name="adj" fmla="val 34618"/>
              </a:avLst>
            </a:prstGeom>
            <a:solidFill>
              <a:srgbClr val="959CA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Rectangle 3">
              <a:extLst>
                <a:ext uri="{FF2B5EF4-FFF2-40B4-BE49-F238E27FC236}">
                  <a16:creationId xmlns:a16="http://schemas.microsoft.com/office/drawing/2014/main" id="{828E35E3-E44A-402A-A617-8F09468730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340" y="1963972"/>
              <a:ext cx="2711879" cy="4334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121912" tIns="60956" rIns="121912" bIns="60956"/>
            <a:lstStyle/>
            <a:p>
              <a:pPr marL="0" marR="0" lvl="1" indent="0" algn="ctr" defTabSz="60953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/>
                  <a:ea typeface="+mn-ea"/>
                  <a:cs typeface="Impact"/>
                </a:rPr>
                <a:t>MICRO</a:t>
              </a:r>
              <a:r>
                <a:rPr kumimoji="0" lang="en-US" sz="2533" b="0" i="0" u="none" strike="noStrike" kern="1200" cap="none" spc="0" normalizeH="0" baseline="0" noProof="0" dirty="0">
                  <a:ln>
                    <a:noFill/>
                  </a:ln>
                  <a:solidFill>
                    <a:srgbClr val="414A5B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Century Gothic"/>
                </a:rPr>
                <a:t> </a:t>
              </a: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414A5B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Century Gothic"/>
                </a:rPr>
                <a:t>(minutes, hours)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94D9D59-533E-4501-BD55-35B9C4A4F64F}"/>
              </a:ext>
            </a:extLst>
          </p:cNvPr>
          <p:cNvGrpSpPr>
            <a:grpSpLocks/>
          </p:cNvGrpSpPr>
          <p:nvPr/>
        </p:nvGrpSpPr>
        <p:grpSpPr bwMode="auto">
          <a:xfrm>
            <a:off x="4322763" y="2570163"/>
            <a:ext cx="3703637" cy="3778250"/>
            <a:chOff x="3241533" y="1927056"/>
            <a:chExt cx="2777738" cy="2834705"/>
          </a:xfrm>
        </p:grpSpPr>
        <p:pic>
          <p:nvPicPr>
            <p:cNvPr id="80907" name="Picture 22">
              <a:extLst>
                <a:ext uri="{FF2B5EF4-FFF2-40B4-BE49-F238E27FC236}">
                  <a16:creationId xmlns:a16="http://schemas.microsoft.com/office/drawing/2014/main" id="{58F48481-5808-413A-BD68-04B074C9A8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" r="31560"/>
            <a:stretch>
              <a:fillRect/>
            </a:stretch>
          </p:blipFill>
          <p:spPr bwMode="auto">
            <a:xfrm>
              <a:off x="3417128" y="2373319"/>
              <a:ext cx="2451964" cy="2388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id="{175C9C2D-A36E-4734-A154-6F4E7E99AD0E}"/>
                </a:ext>
              </a:extLst>
            </p:cNvPr>
            <p:cNvSpPr/>
            <p:nvPr/>
          </p:nvSpPr>
          <p:spPr>
            <a:xfrm>
              <a:off x="3241533" y="1927056"/>
              <a:ext cx="2777738" cy="514535"/>
            </a:xfrm>
            <a:prstGeom prst="roundRect">
              <a:avLst>
                <a:gd name="adj" fmla="val 34618"/>
              </a:avLst>
            </a:prstGeom>
            <a:solidFill>
              <a:srgbClr val="959CA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Rectangle 3">
              <a:extLst>
                <a:ext uri="{FF2B5EF4-FFF2-40B4-BE49-F238E27FC236}">
                  <a16:creationId xmlns:a16="http://schemas.microsoft.com/office/drawing/2014/main" id="{C7D329FC-FBC7-42B5-8DF5-9D90A88C7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9640" y="1963978"/>
              <a:ext cx="2482462" cy="440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121912" tIns="60956" rIns="121912" bIns="60956"/>
            <a:lstStyle/>
            <a:p>
              <a:pPr marL="0" marR="0" lvl="1" indent="0" algn="ctr" defTabSz="60953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/>
                  <a:ea typeface="+mn-ea"/>
                  <a:cs typeface="Impact"/>
                </a:rPr>
                <a:t>MEZZO</a:t>
              </a: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414A5B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Century Gothic"/>
                </a:rPr>
                <a:t> (nights, days)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E4FB284-75A4-4F9D-84D2-275153875C37}"/>
              </a:ext>
            </a:extLst>
          </p:cNvPr>
          <p:cNvGrpSpPr>
            <a:grpSpLocks/>
          </p:cNvGrpSpPr>
          <p:nvPr/>
        </p:nvGrpSpPr>
        <p:grpSpPr bwMode="auto">
          <a:xfrm>
            <a:off x="8164513" y="2570163"/>
            <a:ext cx="3754437" cy="3768725"/>
            <a:chOff x="6123147" y="1927056"/>
            <a:chExt cx="2815853" cy="2826673"/>
          </a:xfrm>
        </p:grpSpPr>
        <p:pic>
          <p:nvPicPr>
            <p:cNvPr id="80904" name="Picture 5">
              <a:extLst>
                <a:ext uri="{FF2B5EF4-FFF2-40B4-BE49-F238E27FC236}">
                  <a16:creationId xmlns:a16="http://schemas.microsoft.com/office/drawing/2014/main" id="{37D18527-E867-4E5F-81BC-942C581A252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362" r="19382"/>
            <a:stretch>
              <a:fillRect/>
            </a:stretch>
          </p:blipFill>
          <p:spPr bwMode="auto">
            <a:xfrm>
              <a:off x="6280958" y="2350104"/>
              <a:ext cx="2471196" cy="2403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305346F6-F24E-4C92-8747-91D6A1B9B316}"/>
                </a:ext>
              </a:extLst>
            </p:cNvPr>
            <p:cNvSpPr/>
            <p:nvPr/>
          </p:nvSpPr>
          <p:spPr>
            <a:xfrm>
              <a:off x="6123147" y="1927056"/>
              <a:ext cx="2777753" cy="514374"/>
            </a:xfrm>
            <a:prstGeom prst="roundRect">
              <a:avLst>
                <a:gd name="adj" fmla="val 34618"/>
              </a:avLst>
            </a:prstGeom>
            <a:solidFill>
              <a:srgbClr val="959CA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Rectangle 3">
              <a:extLst>
                <a:ext uri="{FF2B5EF4-FFF2-40B4-BE49-F238E27FC236}">
                  <a16:creationId xmlns:a16="http://schemas.microsoft.com/office/drawing/2014/main" id="{3F56ECB5-A3E2-4B88-89C7-64CA16520C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3387" y="1963967"/>
              <a:ext cx="2795613" cy="4095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  <p:txBody>
            <a:bodyPr lIns="121912" tIns="60956" rIns="121912" bIns="60956"/>
            <a:lstStyle/>
            <a:p>
              <a:pPr marL="0" marR="0" lvl="1" indent="0" algn="ctr" defTabSz="609539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/>
                  <a:ea typeface="+mn-ea"/>
                  <a:cs typeface="Impact"/>
                </a:rPr>
                <a:t>MACRO</a:t>
              </a:r>
              <a:r>
                <a:rPr kumimoji="0" 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srgbClr val="414A5B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Century Gothic"/>
                </a:rPr>
                <a:t> (weeks, months)</a:t>
              </a:r>
            </a:p>
          </p:txBody>
        </p:sp>
      </p:grpSp>
      <p:sp>
        <p:nvSpPr>
          <p:cNvPr id="17" name="Rectangle 2">
            <a:extLst>
              <a:ext uri="{FF2B5EF4-FFF2-40B4-BE49-F238E27FC236}">
                <a16:creationId xmlns:a16="http://schemas.microsoft.com/office/drawing/2014/main" id="{5EAEF5F2-2B7D-4014-B369-967BEED21C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3550" y="1001713"/>
            <a:ext cx="81930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121912" tIns="60956" rIns="121912" bIns="60956" anchor="ctr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defTabSz="4556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l" defTabSz="60746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267" b="0" i="0" u="none" strike="noStrike" kern="1200" cap="none" spc="0" normalizeH="0" baseline="0" noProof="0" dirty="0">
                <a:ln>
                  <a:noFill/>
                </a:ln>
                <a:solidFill>
                  <a:srgbClr val="002960">
                    <a:lumMod val="90000"/>
                    <a:lumOff val="10000"/>
                  </a:srgbClr>
                </a:solidFill>
                <a:effectLst/>
                <a:uLnTx/>
                <a:uFillTx/>
                <a:latin typeface="Impact"/>
                <a:ea typeface="Century Gothic" panose="020B0502020202020204" pitchFamily="34" charset="0"/>
                <a:cs typeface="Impact"/>
              </a:rPr>
              <a:t>… Lack of recovery is the problem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rotWithShape="0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4">
            <a:extLst>
              <a:ext uri="{FF2B5EF4-FFF2-40B4-BE49-F238E27FC236}">
                <a16:creationId xmlns:a16="http://schemas.microsoft.com/office/drawing/2014/main" id="{DC9FFBF3-C71C-4451-A64D-E3FE98185F0C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708910" y="125413"/>
            <a:ext cx="5798820" cy="722312"/>
          </a:xfrm>
        </p:spPr>
        <p:txBody>
          <a:bodyPr/>
          <a:lstStyle/>
          <a:p>
            <a:r>
              <a:rPr lang="en-US" altLang="en-US" sz="4800" dirty="0">
                <a:latin typeface="Arial" panose="020B0604020202020204" pitchFamily="34" charset="0"/>
                <a:cs typeface="Arial" panose="020B0604020202020204" pitchFamily="34" charset="0"/>
              </a:rPr>
              <a:t>GIV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4DCEEAA-4AF8-4197-AE1D-23AC1EFB03A9}"/>
              </a:ext>
            </a:extLst>
          </p:cNvPr>
          <p:cNvSpPr/>
          <p:nvPr/>
        </p:nvSpPr>
        <p:spPr>
          <a:xfrm>
            <a:off x="3496945" y="5166678"/>
            <a:ext cx="4519613" cy="15970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4400" b="0" i="0" u="none" strike="noStrike" kern="1200" cap="none" spc="0" normalizeH="0" baseline="0" noProof="0" dirty="0">
                <a:ln>
                  <a:noFill/>
                </a:ln>
                <a:solidFill>
                  <a:srgbClr val="00296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נ ת נ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002960">
                  <a:lumMod val="90000"/>
                  <a:lumOff val="10000"/>
                </a:srgbClr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2960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ATAN</a:t>
            </a:r>
          </a:p>
        </p:txBody>
      </p:sp>
      <p:sp>
        <p:nvSpPr>
          <p:cNvPr id="5" name="Rectangle 12">
            <a:extLst>
              <a:ext uri="{FF2B5EF4-FFF2-40B4-BE49-F238E27FC236}">
                <a16:creationId xmlns:a16="http://schemas.microsoft.com/office/drawing/2014/main" id="{2FF10F90-8A67-44C8-9E9F-C35CCF4C8C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887095"/>
            <a:ext cx="1147572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>
            <a:lvl1pPr marL="342900" indent="-3429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971550" indent="-51435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971550" marR="0" lvl="2" indent="-5143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n the benefits of charity</a:t>
            </a:r>
          </a:p>
          <a:p>
            <a:pPr marL="971550" marR="0" lvl="2" indent="-51435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5000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altLang="en-US" sz="3600" b="1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benefits of kindness</a:t>
            </a:r>
          </a:p>
          <a:p>
            <a:pPr marL="457200" lvl="2" indent="0">
              <a:spcAft>
                <a:spcPct val="50000"/>
              </a:spcAft>
              <a:buClr>
                <a:srgbClr val="002960"/>
              </a:buClr>
              <a:defRPr/>
            </a:pPr>
            <a:r>
              <a:rPr lang="en-US" alt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You can always, always give something, even if it is only kindness.” 																Anne Frank</a:t>
            </a:r>
            <a:endParaRPr kumimoji="0" lang="en-US" alt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>
              <a:spcAft>
                <a:spcPct val="50000"/>
              </a:spcAft>
              <a:buClr>
                <a:srgbClr val="002960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3600" b="1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benefits of listening</a:t>
            </a:r>
          </a:p>
        </p:txBody>
      </p:sp>
    </p:spTree>
    <p:extLst>
      <p:ext uri="{BB962C8B-B14F-4D97-AF65-F5344CB8AC3E}">
        <p14:creationId xmlns:p14="http://schemas.microsoft.com/office/powerpoint/2010/main" val="10821734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uiExpand="1" build="p" bldLvl="2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rotWithShape="0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330" name="Picture 1">
            <a:extLst>
              <a:ext uri="{FF2B5EF4-FFF2-40B4-BE49-F238E27FC236}">
                <a16:creationId xmlns:a16="http://schemas.microsoft.com/office/drawing/2014/main" id="{4C790564-2964-481A-B86B-D82E135541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24" b="1648"/>
          <a:stretch>
            <a:fillRect/>
          </a:stretch>
        </p:blipFill>
        <p:spPr bwMode="auto">
          <a:xfrm>
            <a:off x="8050435" y="9525"/>
            <a:ext cx="4132040" cy="684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872D950C-6583-44C6-B417-F08542F48230}"/>
              </a:ext>
            </a:extLst>
          </p:cNvPr>
          <p:cNvSpPr/>
          <p:nvPr/>
        </p:nvSpPr>
        <p:spPr>
          <a:xfrm rot="19613218">
            <a:off x="2449812" y="2106346"/>
            <a:ext cx="2843745" cy="1750089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E107CDC-F7A3-419D-925F-A5A18603A287}"/>
              </a:ext>
            </a:extLst>
          </p:cNvPr>
          <p:cNvSpPr/>
          <p:nvPr/>
        </p:nvSpPr>
        <p:spPr>
          <a:xfrm rot="19525060">
            <a:off x="4943233" y="1979038"/>
            <a:ext cx="3078462" cy="1771451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cher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47A434E-C56F-420A-B56C-1BBE925EC77A}"/>
              </a:ext>
            </a:extLst>
          </p:cNvPr>
          <p:cNvSpPr/>
          <p:nvPr/>
        </p:nvSpPr>
        <p:spPr>
          <a:xfrm rot="19634672">
            <a:off x="-74814" y="2373855"/>
            <a:ext cx="2784668" cy="1701264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ivers</a:t>
            </a:r>
          </a:p>
        </p:txBody>
      </p:sp>
    </p:spTree>
    <p:extLst>
      <p:ext uri="{BB962C8B-B14F-4D97-AF65-F5344CB8AC3E}">
        <p14:creationId xmlns:p14="http://schemas.microsoft.com/office/powerpoint/2010/main" val="230625155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rotWithShape="0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872D950C-6583-44C6-B417-F08542F48230}"/>
              </a:ext>
            </a:extLst>
          </p:cNvPr>
          <p:cNvSpPr/>
          <p:nvPr/>
        </p:nvSpPr>
        <p:spPr>
          <a:xfrm>
            <a:off x="2146300" y="2662238"/>
            <a:ext cx="2603500" cy="146367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ker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6E107CDC-F7A3-419D-925F-A5A18603A287}"/>
              </a:ext>
            </a:extLst>
          </p:cNvPr>
          <p:cNvSpPr/>
          <p:nvPr/>
        </p:nvSpPr>
        <p:spPr>
          <a:xfrm>
            <a:off x="4845050" y="2644775"/>
            <a:ext cx="2838450" cy="1463675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tchers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47A434E-C56F-420A-B56C-1BBE925EC77A}"/>
              </a:ext>
            </a:extLst>
          </p:cNvPr>
          <p:cNvSpPr/>
          <p:nvPr/>
        </p:nvSpPr>
        <p:spPr>
          <a:xfrm>
            <a:off x="3481388" y="1079500"/>
            <a:ext cx="2574925" cy="1357313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iver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DCE4E3F-4928-4AED-9DF9-23A0D17F2CCD}"/>
              </a:ext>
            </a:extLst>
          </p:cNvPr>
          <p:cNvSpPr/>
          <p:nvPr/>
        </p:nvSpPr>
        <p:spPr>
          <a:xfrm>
            <a:off x="3567113" y="4541838"/>
            <a:ext cx="2574925" cy="1358900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839FE7">
                    <a:lumMod val="75000"/>
                  </a:srgb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ivers</a:t>
            </a: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64B39696-1B93-4C12-9B41-A823529C02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13" y="1212850"/>
            <a:ext cx="3548062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defTabSz="895350">
              <a:buClr>
                <a:schemeClr val="folHlink"/>
              </a:buClr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buClr>
                <a:schemeClr val="folHlink"/>
              </a:buClr>
              <a:buFont typeface="Arial" panose="020B0604020202020204" pitchFamily="34" charset="0"/>
              <a:buChar char="▪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2pPr>
            <a:lvl3pPr marL="112713" defTabSz="895350">
              <a:buClr>
                <a:schemeClr val="folHlink"/>
              </a:buClr>
              <a:buFont typeface="Arial" panose="020B0604020202020204" pitchFamily="34" charset="0"/>
              <a:buChar char="–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buClr>
                <a:schemeClr val="folHlink"/>
              </a:buClr>
              <a:buFont typeface="Arial" panose="020B0604020202020204" pitchFamily="34" charset="0"/>
              <a:buChar char="▫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-"/>
              <a:defRPr sz="2400">
                <a:solidFill>
                  <a:schemeClr val="folHlink"/>
                </a:solidFill>
                <a:latin typeface="Verdana" panose="020B0604030504040204" pitchFamily="34" charset="0"/>
              </a:defRPr>
            </a:lvl9pPr>
          </a:lstStyle>
          <a:p>
            <a:pPr marL="112713" marR="0" lvl="2" indent="0" algn="l" defTabSz="8953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7F7F7F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		</a:t>
            </a: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Top</a:t>
            </a:r>
          </a:p>
          <a:p>
            <a:pPr marL="112713" marR="0" lvl="2" indent="0" algn="l" defTabSz="8953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E9764B"/>
              </a:buClr>
              <a:buSzTx/>
              <a:buFontTx/>
              <a:buNone/>
              <a:tabLst/>
              <a:defRPr/>
            </a:pPr>
            <a:endParaRPr kumimoji="0" lang="en-US" altLang="en-US" sz="3600" b="1" i="0" u="none" strike="noStrike" kern="1200" cap="none" spc="0" normalizeH="0" baseline="0" noProof="0">
              <a:ln>
                <a:noFill/>
              </a:ln>
              <a:solidFill>
                <a:srgbClr val="E9764B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 panose="020B0502020202020204" pitchFamily="34" charset="0"/>
            </a:endParaRPr>
          </a:p>
          <a:p>
            <a:pPr marL="112713" marR="0" lvl="2" indent="0" algn="l" defTabSz="89535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E9764B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Middle</a:t>
            </a:r>
          </a:p>
          <a:p>
            <a:pPr marL="112713" marR="0" lvl="2" indent="0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7F7F7F"/>
              </a:buClr>
              <a:buSzTx/>
              <a:buFontTx/>
              <a:buNone/>
              <a:tabLst/>
              <a:defRPr/>
            </a:pPr>
            <a:endParaRPr kumimoji="0" lang="en-US" altLang="en-US" sz="3600" b="1" i="0" u="none" strike="noStrike" kern="120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Century Gothic" panose="020B0502020202020204" pitchFamily="34" charset="0"/>
            </a:endParaRPr>
          </a:p>
          <a:p>
            <a:pPr marL="112713" marR="0" lvl="2" indent="0" algn="l" defTabSz="89535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50000"/>
              </a:spcAft>
              <a:buClr>
                <a:srgbClr val="7F7F7F"/>
              </a:buClr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	    </a:t>
            </a:r>
            <a:r>
              <a:rPr kumimoji="0" lang="en-US" altLang="en-US" sz="3600" b="1" i="0" u="none" strike="noStrike" kern="1200" cap="none" spc="0" normalizeH="0" baseline="0" noProof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entury Gothic" panose="020B0502020202020204" pitchFamily="34" charset="0"/>
              </a:rPr>
              <a:t>Bottom</a:t>
            </a:r>
          </a:p>
        </p:txBody>
      </p:sp>
      <p:sp>
        <p:nvSpPr>
          <p:cNvPr id="101383" name="Rectangle 4">
            <a:extLst>
              <a:ext uri="{FF2B5EF4-FFF2-40B4-BE49-F238E27FC236}">
                <a16:creationId xmlns:a16="http://schemas.microsoft.com/office/drawing/2014/main" id="{96E9967A-74D7-4982-A5A9-B55B03BDAD5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26988" y="14288"/>
            <a:ext cx="7369175" cy="927100"/>
          </a:xfrm>
        </p:spPr>
        <p:txBody>
          <a:bodyPr anchor="ctr"/>
          <a:lstStyle/>
          <a:p>
            <a:r>
              <a:rPr lang="en-US" altLang="en-US" sz="5400" dirty="0"/>
              <a:t>Performance</a:t>
            </a:r>
          </a:p>
        </p:txBody>
      </p:sp>
      <p:pic>
        <p:nvPicPr>
          <p:cNvPr id="13" name="Picture 5" descr="Midgets need oxygen too.">
            <a:hlinkClick r:id="rId4"/>
            <a:extLst>
              <a:ext uri="{FF2B5EF4-FFF2-40B4-BE49-F238E27FC236}">
                <a16:creationId xmlns:a16="http://schemas.microsoft.com/office/drawing/2014/main" id="{6DA4D8B8-A2C3-46FE-972D-F9F9A1537D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" t="3349" r="6566" b="15070"/>
          <a:stretch>
            <a:fillRect/>
          </a:stretch>
        </p:blipFill>
        <p:spPr bwMode="auto">
          <a:xfrm>
            <a:off x="7778750" y="3175"/>
            <a:ext cx="437515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6368108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uiExpand="1" build="p" bldLvl="2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rotWithShape="0">
          <a:gsLst>
            <a:gs pos="0">
              <a:srgbClr val="5EA6F4"/>
            </a:gs>
            <a:gs pos="74001">
              <a:srgbClr val="E6F1FD"/>
            </a:gs>
            <a:gs pos="83000">
              <a:srgbClr val="E6F1FD"/>
            </a:gs>
            <a:gs pos="100000">
              <a:srgbClr val="EEF6F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7" name="Rectangle 3">
            <a:extLst>
              <a:ext uri="{FF2B5EF4-FFF2-40B4-BE49-F238E27FC236}">
                <a16:creationId xmlns:a16="http://schemas.microsoft.com/office/drawing/2014/main" id="{BAC5BD98-7978-41BC-8889-A1FB39232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030" y="891539"/>
            <a:ext cx="1172972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“Caring for others based only on your sacrifice doesn’t last.  Caring must also feed you.”</a:t>
            </a:r>
            <a:b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																Dalai Lama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D7ADF36-166A-4038-8F8C-38D8DC407E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0363" y="3406140"/>
            <a:ext cx="11115675" cy="193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"If I am not for myself, who will be for me? But if I am only for myself, who am I? If not now, when?”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	</a:t>
            </a:r>
            <a:r>
              <a:rPr kumimoji="0" lang="en-US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														Rabbi Hillel</a:t>
            </a:r>
          </a:p>
        </p:txBody>
      </p:sp>
    </p:spTree>
    <p:extLst>
      <p:ext uri="{BB962C8B-B14F-4D97-AF65-F5344CB8AC3E}">
        <p14:creationId xmlns:p14="http://schemas.microsoft.com/office/powerpoint/2010/main" val="46128487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l5YfrpgEeihpnIloDdB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QbMo89W0WcKlk.GrHkj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wFl41WXkGSHi9kMHs_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6Soduu20.e6tCJ_Qbx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wY6D6heEue7137v7tA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l1vUlmzUSBI2zCR.aA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lbu1rR_UC1BdDF.L0.vQ"/>
</p:tagLst>
</file>

<file path=ppt/theme/theme1.xml><?xml version="1.0" encoding="utf-8"?>
<a:theme xmlns:a="http://schemas.openxmlformats.org/drawingml/2006/main" name="1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8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Default Design">
  <a:themeElements>
    <a:clrScheme name="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sq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382</TotalTime>
  <Words>388</Words>
  <Application>Microsoft Office PowerPoint</Application>
  <PresentationFormat>Widescreen</PresentationFormat>
  <Paragraphs>66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4" baseType="lpstr">
      <vt:lpstr>Arial</vt:lpstr>
      <vt:lpstr>Calibri</vt:lpstr>
      <vt:lpstr>Century Gothic</vt:lpstr>
      <vt:lpstr>Impact</vt:lpstr>
      <vt:lpstr>Times New Roman</vt:lpstr>
      <vt:lpstr>Verdana</vt:lpstr>
      <vt:lpstr>1_Default Design</vt:lpstr>
      <vt:lpstr>2_Default Design</vt:lpstr>
      <vt:lpstr>3_Default Design</vt:lpstr>
      <vt:lpstr>5_Default Design</vt:lpstr>
      <vt:lpstr>8_Default Design</vt:lpstr>
      <vt:lpstr>6_Default Design</vt:lpstr>
      <vt:lpstr>9_Default Design</vt:lpstr>
      <vt:lpstr>4_Default Design</vt:lpstr>
      <vt:lpstr>think-cell Slide</vt:lpstr>
      <vt:lpstr>PowerPoint Presentation</vt:lpstr>
      <vt:lpstr>PERMISSION TO BE HUMAN</vt:lpstr>
      <vt:lpstr>PowerPoint Presentation</vt:lpstr>
      <vt:lpstr>PowerPoint Presentation</vt:lpstr>
      <vt:lpstr>PowerPoint Presentation</vt:lpstr>
      <vt:lpstr>GIVING</vt:lpstr>
      <vt:lpstr>PowerPoint Presentation</vt:lpstr>
      <vt:lpstr>Performanc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Tal Ben-Shachar</dc:creator>
  <cp:lastModifiedBy>Shirley Dayan</cp:lastModifiedBy>
  <cp:revision>724</cp:revision>
  <cp:lastPrinted>2020-11-17T17:48:33Z</cp:lastPrinted>
  <dcterms:created xsi:type="dcterms:W3CDTF">2002-07-09T11:01:32Z</dcterms:created>
  <dcterms:modified xsi:type="dcterms:W3CDTF">2023-06-05T12:5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No Slide Title</vt:lpwstr>
  </property>
  <property fmtid="{D5CDD505-2E9C-101B-9397-08002B2CF9AE}" pid="3" name="Final">
    <vt:bool>tru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</Properties>
</file>